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9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0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092" r:id="rId4"/>
    <p:sldMasterId id="2147485124" r:id="rId5"/>
    <p:sldMasterId id="2147485130" r:id="rId6"/>
    <p:sldMasterId id="2147484720" r:id="rId7"/>
    <p:sldMasterId id="2147483952" r:id="rId8"/>
    <p:sldMasterId id="2147484464" r:id="rId9"/>
    <p:sldMasterId id="2147484996" r:id="rId10"/>
    <p:sldMasterId id="2147485028" r:id="rId11"/>
    <p:sldMasterId id="2147485036" r:id="rId12"/>
    <p:sldMasterId id="2147485149" r:id="rId13"/>
    <p:sldMasterId id="2147485156" r:id="rId14"/>
    <p:sldMasterId id="2147485167" r:id="rId15"/>
  </p:sldMasterIdLst>
  <p:notesMasterIdLst>
    <p:notesMasterId r:id="rId25"/>
  </p:notesMasterIdLst>
  <p:handoutMasterIdLst>
    <p:handoutMasterId r:id="rId26"/>
  </p:handoutMasterIdLst>
  <p:sldIdLst>
    <p:sldId id="3549" r:id="rId16"/>
    <p:sldId id="3550" r:id="rId17"/>
    <p:sldId id="3551" r:id="rId18"/>
    <p:sldId id="3552" r:id="rId19"/>
    <p:sldId id="3553" r:id="rId20"/>
    <p:sldId id="3554" r:id="rId21"/>
    <p:sldId id="3555" r:id="rId22"/>
    <p:sldId id="3556" r:id="rId23"/>
    <p:sldId id="3557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gaoglu, Deniz" initials="AD" lastIdx="2" clrIdx="0"/>
  <p:cmAuthor id="2" name="Srinivas Pammi" initials="SP" lastIdx="3" clrIdx="1"/>
  <p:cmAuthor id="3" name="Bryan Phillips" initials="BP" lastIdx="2" clrIdx="2"/>
  <p:cmAuthor id="4" name="Alexander James" initials="AJ" lastIdx="2" clrIdx="3"/>
  <p:cmAuthor id="5" name="Anjali Riat" initials="AR" lastIdx="2" clrIdx="4"/>
  <p:cmAuthor id="6" name="Heather Belbin" initials="HB" lastIdx="18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2341"/>
    <a:srgbClr val="F6D209"/>
    <a:srgbClr val="7887E6"/>
    <a:srgbClr val="00C8D2"/>
    <a:srgbClr val="FF5073"/>
    <a:srgbClr val="D7C3B9"/>
    <a:srgbClr val="B2B2B2"/>
    <a:srgbClr val="F1F1F1"/>
    <a:srgbClr val="99FF99"/>
    <a:srgbClr val="3327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4266" autoAdjust="0"/>
  </p:normalViewPr>
  <p:slideViewPr>
    <p:cSldViewPr snapToGrid="0">
      <p:cViewPr varScale="1">
        <p:scale>
          <a:sx n="81" d="100"/>
          <a:sy n="81" d="100"/>
        </p:scale>
        <p:origin x="163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97E841F-644D-544F-8C37-61D1DD1524E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E8A610-C50A-1349-BD45-0C06AE873A3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53856" y="0"/>
            <a:ext cx="302477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839330-9384-9148-ACE3-2174C86DF783}" type="datetimeFigureOut">
              <a:rPr lang="en-GB" smtClean="0"/>
              <a:t>16/06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394E43-4C6B-1F41-9020-75BE8621400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26"/>
            <a:ext cx="302477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030EC3-BED0-5B44-90BB-CA92467182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53856" y="8685226"/>
            <a:ext cx="302477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669668-B010-CE40-843A-300207F478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44686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6" y="0"/>
            <a:ext cx="302477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A93A7-A2D9-144F-A3C0-8F102234E854}" type="datetimeFigureOut">
              <a:rPr lang="en-GB" smtClean="0"/>
              <a:t>16/06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6125" y="1143000"/>
            <a:ext cx="5487988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5" y="4400550"/>
            <a:ext cx="558419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26"/>
            <a:ext cx="302477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6" y="8685226"/>
            <a:ext cx="302477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D29604-1049-AA47-A2A4-C10FE37C13A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63840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D29604-1049-AA47-A2A4-C10FE37C13A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5526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D29604-1049-AA47-A2A4-C10FE37C13A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278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D29604-1049-AA47-A2A4-C10FE37C13A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0741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80060" y="6356350"/>
            <a:ext cx="875554" cy="365125"/>
          </a:xfrm>
        </p:spPr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0675C4-D4D4-C144-B4C6-364FEB8E4F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E2DDDE-3F9D-3C45-87B6-4D8A8BEDE6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60" y="1808585"/>
            <a:ext cx="8424228" cy="4450950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AF330B-A202-764E-A782-78C55AE4C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19340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1 Column Text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8D94B0-AA24-CA44-91F4-4F8EA226B1E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2D3A3E1-DEB3-3F41-B57D-23FA532162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02643" y="2009193"/>
            <a:ext cx="6009933" cy="41566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01BB585-8E42-544A-BBB3-7C5B3EC880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10151"/>
            <a:ext cx="4990499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GB"/>
              <a:t>Click to add your bottom text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36C517-99EC-324C-A958-8CC7C7765B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FCA2D91-0539-B343-AC0C-19D6F206A7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4666733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7908037-A937-CC46-A428-121E1D063CB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4"/>
            <a:ext cx="4666733" cy="3769894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1DDA4D2-ABDF-394D-BFA1-AA733165E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36120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vender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393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33125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US"/>
              <a:t>Add text her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D8DFA49-2F7F-3147-A304-69EC5D2A9A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393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7C54CED5-E8F1-7841-8778-508807AF64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3125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4C8D1FE9-FB73-AF46-AAC5-03D14CA633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797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294B6308-4BF3-9847-90BE-7D7CEC8F8D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41529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2D7F37E7-230C-C343-BECB-55734AB64D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4393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B750913-C610-614F-B3AE-2EC44290C9C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3125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B2810B0-F8DF-C146-A3ED-405350DA59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90766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75A2CE6-DFAB-104F-9EEB-DBA0FF408B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9498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A584C9B6-C26B-A848-ACD2-1B31A8567E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90766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6E544971-B467-9346-9A5D-6119AB4F97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49498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EB306962-4E1D-454C-A6B4-5A4FCAD3FC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99170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E659289A-B6B9-1B4E-992C-80723AC36E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7902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2207093D-0AE3-7F47-AC12-1D4621F1E5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90766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75073AEF-5740-F747-B799-3C860882B18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49498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735D8FBE-F524-444D-892F-3044BEE47B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23912" y="2597609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9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8C534923-7194-134A-978E-71F06EEE325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54689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F38C1893-B569-DE47-8A0D-79D27EF86E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23912" y="3398688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AE06F02B-5BB9-AB4B-8831-5B12A24D21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54689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D4D8E94-E835-744D-892D-71E3C45797D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316" y="4199767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1</a:t>
            </a:r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8C948CB6-AFFE-A642-92FD-ED3E26D0573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63093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39534580-C69D-0042-9F3E-223DC45652C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23912" y="5000846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2</a:t>
            </a:r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7C407BF4-2959-814E-BF1B-D2DAB1362E3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54689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1D013E5-6D28-CE47-8FB2-748BCB1B4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51" name="Title 1">
            <a:extLst>
              <a:ext uri="{FF2B5EF4-FFF2-40B4-BE49-F238E27FC236}">
                <a16:creationId xmlns:a16="http://schemas.microsoft.com/office/drawing/2014/main" id="{67BBA32E-1282-0341-8963-47C131CE83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385658"/>
            <a:ext cx="9067266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F5F6A6BA-52FD-7948-A13F-09B9B845C0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8"/>
            <a:ext cx="9067265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27DC7C-34A0-064D-A088-5F14E9C8A6D5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845897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Left Low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0B342D6-3CB8-6C40-89C8-5D76867960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272" y="5809498"/>
            <a:ext cx="1874100" cy="451858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1A1C20FC-E659-764D-8C47-CDEA675674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752197"/>
            <a:ext cx="9829800" cy="16056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create a title header line of text</a:t>
            </a:r>
            <a:endParaRPr lang="en-GB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8968C275-1FDB-1E43-B529-48F39D22E9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496637"/>
            <a:ext cx="9829800" cy="87338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create a subtitle of tex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3FBAA8-D503-400F-86F7-386F052EFD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02610" y="6389574"/>
            <a:ext cx="504762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45694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55535-A48F-4DF5-B19B-83644393C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BBCB94-04B1-49FC-A964-355A7D6B24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0462BA-9F3C-41A0-8296-11319DC9F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0469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our Column Text_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5EB3247-BEEB-394A-B0DB-4EDB16688E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8E9E84-38CD-D54D-ADBF-9E2119196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F375F8-A904-A546-BDA8-2DBB7FA1CC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9" y="1384473"/>
            <a:ext cx="3590261" cy="5991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 sz="1800" b="1" i="0">
                <a:solidFill>
                  <a:schemeClr val="accent2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9A81444-A86B-0D40-BD71-916200D806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1" y="2319193"/>
            <a:ext cx="5616574" cy="15422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chemeClr val="tx2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GB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A9EF254-19BA-954D-8977-0C1855D3DE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4197084"/>
            <a:ext cx="3590261" cy="5991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 sz="18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C001CE-A79E-D244-8A39-D710EC8A1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1384472"/>
            <a:ext cx="4652112" cy="12763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298B047-C141-5942-A392-E3005A72D5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69716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our Column Text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5EB3247-BEEB-394A-B0DB-4EDB16688E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8E9E84-38CD-D54D-ADBF-9E2119196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F375F8-A904-A546-BDA8-2DBB7FA1CC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9" y="1384473"/>
            <a:ext cx="3590261" cy="5991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 sz="1800" b="1" i="0">
                <a:solidFill>
                  <a:schemeClr val="accent2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9A81444-A86B-0D40-BD71-916200D806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1" y="2319193"/>
            <a:ext cx="5616574" cy="15422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GB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A9EF254-19BA-954D-8977-0C1855D3DE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4197084"/>
            <a:ext cx="3590261" cy="5991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 sz="18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949C54-615E-A746-87BF-99821F74C2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2C001CE-A79E-D244-8A39-D710EC8A1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1384472"/>
            <a:ext cx="4652112" cy="12763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527810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our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397D7D-2EA1-9B47-9452-76AE419CDA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2074097"/>
            <a:ext cx="7021513" cy="114756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  <a:defRPr sz="1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B449392-6C24-5440-9221-EE6A95B1AE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3517557"/>
            <a:ext cx="7021513" cy="26482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F0E2365-244D-1D4F-9ECA-D55FDA48D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59755D7-E897-F542-AE12-61637F90F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654998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Number Lis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397D7D-2EA1-9B47-9452-76AE419CDA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6" y="1824609"/>
            <a:ext cx="8424862" cy="19274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C57327-26DD-0641-8DFF-53F8291FDD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065718"/>
            <a:ext cx="8423864" cy="13627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C8DF399-ACB3-544A-A854-38E1675023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6" y="4515617"/>
            <a:ext cx="8423864" cy="892175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41B7AFC-73B1-7244-97DD-333775532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BD5479-E685-D54B-80E6-4B7C6CB00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655119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A924C71-EA95-A14C-BD05-C0E8B061D4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808162"/>
            <a:ext cx="8424863" cy="4357687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Font typeface="Arial" panose="020B0604020202020204" pitchFamily="34" charset="0"/>
              <a:buNone/>
              <a:defRPr sz="1800" b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561F2F8-4380-804D-A63D-00366DEB78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B65D4A-BF3A-A341-A4C7-F2728FB08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642613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ection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72C3C05-D7C0-7549-9F26-56AB1BAF677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1F7E558-8018-2F42-A849-0828E25CB3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2FD446F-FDC5-8442-A9D2-F9C96A13DD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99772" y="95848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C2BE388A-E630-D348-9DE0-22909EAF9E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99772" y="175552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3B2EAB8-5277-8349-99D6-E164D3E44E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99772" y="215099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1FEB50FC-8833-C941-B8B6-7278F84D59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99772" y="347393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07F5A53-5F59-BC4F-9FD0-8EB856C8862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99772" y="427097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39C4477-32F3-2B42-A7F2-652BF7B524C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99772" y="466644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7A61E81C-5892-E04A-8CFF-6C3DB9FDE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1115706"/>
            <a:ext cx="4211002" cy="12763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613833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ection Column Text + Graphi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467128C-9254-3646-A9BC-0FFCCAAFA8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A8BB2C48-2943-DC46-8564-43E55E033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60" y="365126"/>
            <a:ext cx="4519687" cy="349854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create a title header line of tex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9424BC0-6A62-B848-815B-D681C0E2C69B}"/>
              </a:ext>
            </a:extLst>
          </p:cNvPr>
          <p:cNvSpPr/>
          <p:nvPr userDrawn="1"/>
        </p:nvSpPr>
        <p:spPr>
          <a:xfrm>
            <a:off x="1093922" y="1532569"/>
            <a:ext cx="1432560" cy="14325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E1A7C6B-1316-984B-9FE2-2AC8B6506AD5}"/>
              </a:ext>
            </a:extLst>
          </p:cNvPr>
          <p:cNvSpPr/>
          <p:nvPr userDrawn="1"/>
        </p:nvSpPr>
        <p:spPr>
          <a:xfrm>
            <a:off x="3766002" y="2375076"/>
            <a:ext cx="1432560" cy="14325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A436EA4-D425-E64F-B1E5-C8EFDD6004C5}"/>
              </a:ext>
            </a:extLst>
          </p:cNvPr>
          <p:cNvSpPr/>
          <p:nvPr userDrawn="1"/>
        </p:nvSpPr>
        <p:spPr>
          <a:xfrm>
            <a:off x="1810202" y="4417457"/>
            <a:ext cx="1432560" cy="14325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C1BD2F1-05CF-C04D-8ADB-45B8508369C3}"/>
              </a:ext>
            </a:extLst>
          </p:cNvPr>
          <p:cNvSpPr/>
          <p:nvPr userDrawn="1"/>
        </p:nvSpPr>
        <p:spPr>
          <a:xfrm>
            <a:off x="2581706" y="2142825"/>
            <a:ext cx="468762" cy="4687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578775-8C2D-7140-8C2E-103179DEC143}"/>
              </a:ext>
            </a:extLst>
          </p:cNvPr>
          <p:cNvSpPr/>
          <p:nvPr userDrawn="1"/>
        </p:nvSpPr>
        <p:spPr>
          <a:xfrm>
            <a:off x="3317560" y="2372666"/>
            <a:ext cx="468762" cy="4687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3AD0ADF-DACE-2144-AF74-DA9260208742}"/>
              </a:ext>
            </a:extLst>
          </p:cNvPr>
          <p:cNvSpPr/>
          <p:nvPr userDrawn="1"/>
        </p:nvSpPr>
        <p:spPr>
          <a:xfrm>
            <a:off x="3663353" y="1630525"/>
            <a:ext cx="753506" cy="7535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E5C17EA-B0BA-EC43-94BC-57F579C94F24}"/>
              </a:ext>
            </a:extLst>
          </p:cNvPr>
          <p:cNvSpPr/>
          <p:nvPr userDrawn="1"/>
        </p:nvSpPr>
        <p:spPr>
          <a:xfrm>
            <a:off x="3317560" y="4802840"/>
            <a:ext cx="753506" cy="7535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FC66A13-3E71-204C-8E83-C0F7C2582339}"/>
              </a:ext>
            </a:extLst>
          </p:cNvPr>
          <p:cNvSpPr/>
          <p:nvPr userDrawn="1"/>
        </p:nvSpPr>
        <p:spPr>
          <a:xfrm>
            <a:off x="3717289" y="3791093"/>
            <a:ext cx="709730" cy="7097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0640A3A-6B7B-A94D-9CF2-C71E49349AEC}"/>
              </a:ext>
            </a:extLst>
          </p:cNvPr>
          <p:cNvSpPr/>
          <p:nvPr userDrawn="1"/>
        </p:nvSpPr>
        <p:spPr>
          <a:xfrm>
            <a:off x="4488832" y="3843276"/>
            <a:ext cx="657547" cy="65754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9A35044-13D4-DA4D-8F4C-8CFCB3E5297E}"/>
              </a:ext>
            </a:extLst>
          </p:cNvPr>
          <p:cNvSpPr/>
          <p:nvPr userDrawn="1"/>
        </p:nvSpPr>
        <p:spPr>
          <a:xfrm>
            <a:off x="4160059" y="4474067"/>
            <a:ext cx="526086" cy="52608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D78BDF7-ABE3-504B-9FEF-15FA82041139}"/>
              </a:ext>
            </a:extLst>
          </p:cNvPr>
          <p:cNvSpPr/>
          <p:nvPr userDrawn="1"/>
        </p:nvSpPr>
        <p:spPr>
          <a:xfrm>
            <a:off x="3128334" y="4352439"/>
            <a:ext cx="450401" cy="4504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FBD1CA6-E25A-7A43-96CE-54C998DABA3A}"/>
              </a:ext>
            </a:extLst>
          </p:cNvPr>
          <p:cNvSpPr/>
          <p:nvPr userDrawn="1"/>
        </p:nvSpPr>
        <p:spPr>
          <a:xfrm>
            <a:off x="4145864" y="5081198"/>
            <a:ext cx="350534" cy="3505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E322FCB-CBA1-2648-9775-60F3A4797FDB}"/>
              </a:ext>
            </a:extLst>
          </p:cNvPr>
          <p:cNvSpPr/>
          <p:nvPr userDrawn="1"/>
        </p:nvSpPr>
        <p:spPr>
          <a:xfrm>
            <a:off x="1586448" y="3807636"/>
            <a:ext cx="447507" cy="447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4F1720B-4676-5042-B092-C5D05BD1DC3E}"/>
              </a:ext>
            </a:extLst>
          </p:cNvPr>
          <p:cNvSpPr/>
          <p:nvPr userDrawn="1"/>
        </p:nvSpPr>
        <p:spPr>
          <a:xfrm>
            <a:off x="837800" y="4279264"/>
            <a:ext cx="927906" cy="9279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4A5F26F-AABA-4241-8EF0-9FBB1972A4F3}"/>
              </a:ext>
            </a:extLst>
          </p:cNvPr>
          <p:cNvSpPr/>
          <p:nvPr userDrawn="1"/>
        </p:nvSpPr>
        <p:spPr>
          <a:xfrm>
            <a:off x="1474229" y="5231291"/>
            <a:ext cx="250295" cy="2502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8D9A73B-76FA-A144-84CB-6B706656BF67}"/>
              </a:ext>
            </a:extLst>
          </p:cNvPr>
          <p:cNvSpPr/>
          <p:nvPr userDrawn="1"/>
        </p:nvSpPr>
        <p:spPr>
          <a:xfrm>
            <a:off x="1911225" y="4263245"/>
            <a:ext cx="250295" cy="2502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F81FAE4-E983-FD4B-B019-9C73A5B1833E}"/>
              </a:ext>
            </a:extLst>
          </p:cNvPr>
          <p:cNvSpPr/>
          <p:nvPr userDrawn="1"/>
        </p:nvSpPr>
        <p:spPr>
          <a:xfrm>
            <a:off x="1181952" y="3921754"/>
            <a:ext cx="250295" cy="25029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0F2FAF9F-8F32-6141-8193-83FD3485D90F}"/>
              </a:ext>
            </a:extLst>
          </p:cNvPr>
          <p:cNvSpPr/>
          <p:nvPr userDrawn="1"/>
        </p:nvSpPr>
        <p:spPr>
          <a:xfrm>
            <a:off x="863947" y="3831745"/>
            <a:ext cx="229975" cy="229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805024C-6A72-5248-A730-8B2DBD3CFC1B}"/>
              </a:ext>
            </a:extLst>
          </p:cNvPr>
          <p:cNvSpPr/>
          <p:nvPr userDrawn="1"/>
        </p:nvSpPr>
        <p:spPr>
          <a:xfrm>
            <a:off x="479425" y="3627051"/>
            <a:ext cx="229975" cy="229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34B34A7-8102-2D48-83DB-C548EF2EF53A}"/>
              </a:ext>
            </a:extLst>
          </p:cNvPr>
          <p:cNvSpPr/>
          <p:nvPr userDrawn="1"/>
        </p:nvSpPr>
        <p:spPr>
          <a:xfrm>
            <a:off x="564780" y="4065326"/>
            <a:ext cx="352131" cy="35213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56AC990-D2F2-9048-BA3E-178B2ECDB91C}"/>
              </a:ext>
            </a:extLst>
          </p:cNvPr>
          <p:cNvSpPr/>
          <p:nvPr userDrawn="1"/>
        </p:nvSpPr>
        <p:spPr>
          <a:xfrm>
            <a:off x="1586448" y="3292012"/>
            <a:ext cx="434579" cy="4345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E3035F6B-23FE-344E-84B7-7F56261E9248}"/>
              </a:ext>
            </a:extLst>
          </p:cNvPr>
          <p:cNvSpPr/>
          <p:nvPr userDrawn="1"/>
        </p:nvSpPr>
        <p:spPr>
          <a:xfrm>
            <a:off x="585567" y="2744980"/>
            <a:ext cx="1000881" cy="100088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31CADE2-F7E9-D340-A54C-64E7BADB35C0}"/>
              </a:ext>
            </a:extLst>
          </p:cNvPr>
          <p:cNvSpPr/>
          <p:nvPr userDrawn="1"/>
        </p:nvSpPr>
        <p:spPr>
          <a:xfrm>
            <a:off x="583483" y="2291799"/>
            <a:ext cx="461514" cy="46151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95397CC-A603-7A49-86B8-0EA0677750AC}"/>
              </a:ext>
            </a:extLst>
          </p:cNvPr>
          <p:cNvSpPr/>
          <p:nvPr userDrawn="1"/>
        </p:nvSpPr>
        <p:spPr>
          <a:xfrm>
            <a:off x="3158629" y="1695061"/>
            <a:ext cx="413231" cy="41323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7E1653E-C909-994A-BC65-54FAD8FD7904}"/>
              </a:ext>
            </a:extLst>
          </p:cNvPr>
          <p:cNvSpPr/>
          <p:nvPr userDrawn="1"/>
        </p:nvSpPr>
        <p:spPr>
          <a:xfrm>
            <a:off x="4433160" y="2064490"/>
            <a:ext cx="232706" cy="2327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DAEC365-0AF1-8B43-97C2-90DC6FFC10B1}"/>
              </a:ext>
            </a:extLst>
          </p:cNvPr>
          <p:cNvSpPr/>
          <p:nvPr userDrawn="1"/>
        </p:nvSpPr>
        <p:spPr>
          <a:xfrm>
            <a:off x="4758375" y="2182515"/>
            <a:ext cx="232706" cy="2327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D3598B5-1EB6-A647-86B4-E25DC2DD61E7}"/>
              </a:ext>
            </a:extLst>
          </p:cNvPr>
          <p:cNvSpPr/>
          <p:nvPr userDrawn="1"/>
        </p:nvSpPr>
        <p:spPr>
          <a:xfrm>
            <a:off x="3442301" y="1353887"/>
            <a:ext cx="357364" cy="3573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C9C15AF9-7FA6-7C4E-BF77-EEB57DCA1A36}"/>
              </a:ext>
            </a:extLst>
          </p:cNvPr>
          <p:cNvSpPr/>
          <p:nvPr userDrawn="1"/>
        </p:nvSpPr>
        <p:spPr>
          <a:xfrm>
            <a:off x="2782003" y="1773919"/>
            <a:ext cx="284117" cy="2841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DD1A704-9F80-E64D-96B6-4AC5A6C59ECA}"/>
              </a:ext>
            </a:extLst>
          </p:cNvPr>
          <p:cNvSpPr/>
          <p:nvPr userDrawn="1"/>
        </p:nvSpPr>
        <p:spPr>
          <a:xfrm>
            <a:off x="3123902" y="2182462"/>
            <a:ext cx="236999" cy="2369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1944B98-851C-6647-864D-73D8B09BE9DE}"/>
              </a:ext>
            </a:extLst>
          </p:cNvPr>
          <p:cNvSpPr/>
          <p:nvPr userDrawn="1"/>
        </p:nvSpPr>
        <p:spPr>
          <a:xfrm>
            <a:off x="1859299" y="3030884"/>
            <a:ext cx="236999" cy="2369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79DA54D3-5395-1244-8787-721C006C15FD}"/>
              </a:ext>
            </a:extLst>
          </p:cNvPr>
          <p:cNvSpPr/>
          <p:nvPr userDrawn="1"/>
        </p:nvSpPr>
        <p:spPr>
          <a:xfrm>
            <a:off x="1674226" y="3019678"/>
            <a:ext cx="135809" cy="13580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C655737-0593-2B4D-B30B-846C7E7872AD}"/>
              </a:ext>
            </a:extLst>
          </p:cNvPr>
          <p:cNvSpPr/>
          <p:nvPr userDrawn="1"/>
        </p:nvSpPr>
        <p:spPr>
          <a:xfrm>
            <a:off x="3841185" y="3626908"/>
            <a:ext cx="135809" cy="13580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9AE0DE89-03EE-2245-9BEF-23BD161F234E}"/>
              </a:ext>
            </a:extLst>
          </p:cNvPr>
          <p:cNvSpPr/>
          <p:nvPr userDrawn="1"/>
        </p:nvSpPr>
        <p:spPr>
          <a:xfrm>
            <a:off x="2085332" y="1140031"/>
            <a:ext cx="468762" cy="4687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53803ED-ACA7-1446-8F8D-872332592CE0}"/>
              </a:ext>
            </a:extLst>
          </p:cNvPr>
          <p:cNvSpPr/>
          <p:nvPr userDrawn="1"/>
        </p:nvSpPr>
        <p:spPr>
          <a:xfrm>
            <a:off x="2692786" y="1080106"/>
            <a:ext cx="618425" cy="61842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83E4229B-E2B9-5047-A93D-DBE5EA87DA52}"/>
              </a:ext>
            </a:extLst>
          </p:cNvPr>
          <p:cNvSpPr/>
          <p:nvPr userDrawn="1"/>
        </p:nvSpPr>
        <p:spPr>
          <a:xfrm>
            <a:off x="2446997" y="1630524"/>
            <a:ext cx="254251" cy="2542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4097120-2204-704F-A7EC-A826D39779A6}"/>
              </a:ext>
            </a:extLst>
          </p:cNvPr>
          <p:cNvSpPr/>
          <p:nvPr userDrawn="1"/>
        </p:nvSpPr>
        <p:spPr>
          <a:xfrm>
            <a:off x="2242038" y="4232811"/>
            <a:ext cx="124114" cy="12411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9744E37C-7C74-8142-839B-933B0A9C3E0F}"/>
              </a:ext>
            </a:extLst>
          </p:cNvPr>
          <p:cNvSpPr/>
          <p:nvPr userDrawn="1"/>
        </p:nvSpPr>
        <p:spPr>
          <a:xfrm>
            <a:off x="3721309" y="4541640"/>
            <a:ext cx="196808" cy="19680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23EB13BB-87B8-494A-93F5-9B084F29411F}"/>
              </a:ext>
            </a:extLst>
          </p:cNvPr>
          <p:cNvSpPr/>
          <p:nvPr userDrawn="1"/>
        </p:nvSpPr>
        <p:spPr>
          <a:xfrm>
            <a:off x="3090449" y="5629292"/>
            <a:ext cx="220761" cy="2207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029C67C-53EB-C948-A88D-4D17C5A992B9}"/>
              </a:ext>
            </a:extLst>
          </p:cNvPr>
          <p:cNvSpPr/>
          <p:nvPr userDrawn="1"/>
        </p:nvSpPr>
        <p:spPr>
          <a:xfrm>
            <a:off x="3980548" y="5481586"/>
            <a:ext cx="155769" cy="1557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38939670-CF32-6D44-99E3-1A91F0662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2EAA834D-5A20-344F-B3D9-65D1D5E324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99772" y="95848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ECE90336-4F8F-8C49-8B87-8377D429CD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99772" y="175552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7420D1E9-F672-EA44-ACD8-7E065F1D5BF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99772" y="215099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6CABFACA-2C9F-B44C-8F8F-1BD314557B5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99772" y="347393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6D951F71-6634-8A43-A2F9-EE4E4684D77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99772" y="427097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DF635A7-01A8-CB49-9E3E-F56DF33BA1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99772" y="466644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2593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459E5D0A-834A-FD42-83E3-25452CEE65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91062" y="2009193"/>
            <a:ext cx="3398495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CD2BAA-9E21-E049-A72F-FE45149647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FAC5E5B-823E-8046-9E38-8418ABEE7A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10151"/>
            <a:ext cx="4070780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GB"/>
              <a:t>Click to add your bottom text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14C4F94-6D72-5249-AC7A-DD8E00F5AA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65016335-C3FF-C841-9DB1-BD55A5F27D2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14080" y="2009192"/>
            <a:ext cx="3398495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C1981E4-96B4-AB43-907D-D692C9D075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1374710"/>
            <a:ext cx="3720434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C61DFCA4-0210-8E4D-AAAD-8699B9F15F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6" y="2009194"/>
            <a:ext cx="3720434" cy="3769894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82F567-71EC-894E-8F35-A7335D6FD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481165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ection Column Text + Graphic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029EAC7D-873A-3D46-8D06-8C3CD725DB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28CDEEB4-C554-6C49-888C-6EBCA05F82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66" name="Slide Number Placeholder 6">
            <a:extLst>
              <a:ext uri="{FF2B5EF4-FFF2-40B4-BE49-F238E27FC236}">
                <a16:creationId xmlns:a16="http://schemas.microsoft.com/office/drawing/2014/main" id="{D246296A-5D37-944B-A934-196353B46E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80060" y="6356350"/>
            <a:ext cx="875554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7" name="Footer Placeholder 3">
            <a:extLst>
              <a:ext uri="{FF2B5EF4-FFF2-40B4-BE49-F238E27FC236}">
                <a16:creationId xmlns:a16="http://schemas.microsoft.com/office/drawing/2014/main" id="{B0B4D4A5-4403-D34E-B197-3AAF452275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8" name="Title 16">
            <a:extLst>
              <a:ext uri="{FF2B5EF4-FFF2-40B4-BE49-F238E27FC236}">
                <a16:creationId xmlns:a16="http://schemas.microsoft.com/office/drawing/2014/main" id="{35782344-C816-BE4D-8CAA-50D33AE1F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60" y="365126"/>
            <a:ext cx="4519687" cy="349854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create a title header line of text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F5BE745-87EA-7644-B95A-C6C0CEA483D2}"/>
              </a:ext>
            </a:extLst>
          </p:cNvPr>
          <p:cNvSpPr/>
          <p:nvPr userDrawn="1"/>
        </p:nvSpPr>
        <p:spPr>
          <a:xfrm>
            <a:off x="1093922" y="1532569"/>
            <a:ext cx="1432560" cy="14325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4A02240F-A24E-124F-990B-88D402A547F2}"/>
              </a:ext>
            </a:extLst>
          </p:cNvPr>
          <p:cNvSpPr/>
          <p:nvPr userDrawn="1"/>
        </p:nvSpPr>
        <p:spPr>
          <a:xfrm>
            <a:off x="3766002" y="2375076"/>
            <a:ext cx="1432560" cy="14325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12D74C89-BF70-9E41-8838-CE11B07F4D1E}"/>
              </a:ext>
            </a:extLst>
          </p:cNvPr>
          <p:cNvSpPr/>
          <p:nvPr userDrawn="1"/>
        </p:nvSpPr>
        <p:spPr>
          <a:xfrm>
            <a:off x="1810202" y="4417457"/>
            <a:ext cx="1432560" cy="14325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B1A710DE-74CD-F74A-B8B5-55A32E8E9B36}"/>
              </a:ext>
            </a:extLst>
          </p:cNvPr>
          <p:cNvSpPr/>
          <p:nvPr userDrawn="1"/>
        </p:nvSpPr>
        <p:spPr>
          <a:xfrm>
            <a:off x="2581706" y="2142825"/>
            <a:ext cx="468762" cy="4687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71A850E1-189B-4448-9AD5-C6D5EAF152E1}"/>
              </a:ext>
            </a:extLst>
          </p:cNvPr>
          <p:cNvSpPr/>
          <p:nvPr userDrawn="1"/>
        </p:nvSpPr>
        <p:spPr>
          <a:xfrm>
            <a:off x="3317560" y="2372666"/>
            <a:ext cx="468762" cy="4687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279E1766-7367-5C4F-BF8A-9F4814C39EEA}"/>
              </a:ext>
            </a:extLst>
          </p:cNvPr>
          <p:cNvSpPr/>
          <p:nvPr userDrawn="1"/>
        </p:nvSpPr>
        <p:spPr>
          <a:xfrm>
            <a:off x="3663353" y="1630525"/>
            <a:ext cx="753506" cy="7535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D8C3BE82-14F2-1B4D-91C3-79C6D4D047B8}"/>
              </a:ext>
            </a:extLst>
          </p:cNvPr>
          <p:cNvSpPr/>
          <p:nvPr userDrawn="1"/>
        </p:nvSpPr>
        <p:spPr>
          <a:xfrm>
            <a:off x="3317560" y="4802840"/>
            <a:ext cx="753506" cy="7535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54082C00-3FC4-8045-870B-3B9E3480ED6B}"/>
              </a:ext>
            </a:extLst>
          </p:cNvPr>
          <p:cNvSpPr/>
          <p:nvPr userDrawn="1"/>
        </p:nvSpPr>
        <p:spPr>
          <a:xfrm>
            <a:off x="3717289" y="3791093"/>
            <a:ext cx="709730" cy="7097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1E52B55E-BEAD-0540-8A84-B873BA508A4B}"/>
              </a:ext>
            </a:extLst>
          </p:cNvPr>
          <p:cNvSpPr/>
          <p:nvPr userDrawn="1"/>
        </p:nvSpPr>
        <p:spPr>
          <a:xfrm>
            <a:off x="4488832" y="3843276"/>
            <a:ext cx="657547" cy="65754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A111F401-D233-B748-81E3-5D8D93B95AF6}"/>
              </a:ext>
            </a:extLst>
          </p:cNvPr>
          <p:cNvSpPr/>
          <p:nvPr userDrawn="1"/>
        </p:nvSpPr>
        <p:spPr>
          <a:xfrm>
            <a:off x="4160059" y="4474067"/>
            <a:ext cx="526086" cy="52608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805A081B-D24C-074D-9E90-FD20347ED480}"/>
              </a:ext>
            </a:extLst>
          </p:cNvPr>
          <p:cNvSpPr/>
          <p:nvPr userDrawn="1"/>
        </p:nvSpPr>
        <p:spPr>
          <a:xfrm>
            <a:off x="3128334" y="4352439"/>
            <a:ext cx="450401" cy="4504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142CD3F6-5283-5C48-855E-144504E7F622}"/>
              </a:ext>
            </a:extLst>
          </p:cNvPr>
          <p:cNvSpPr/>
          <p:nvPr userDrawn="1"/>
        </p:nvSpPr>
        <p:spPr>
          <a:xfrm>
            <a:off x="4145864" y="5081198"/>
            <a:ext cx="350534" cy="3505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EA6D94CF-23CE-F641-8653-CBD75EF2501A}"/>
              </a:ext>
            </a:extLst>
          </p:cNvPr>
          <p:cNvSpPr/>
          <p:nvPr userDrawn="1"/>
        </p:nvSpPr>
        <p:spPr>
          <a:xfrm>
            <a:off x="1586448" y="3807636"/>
            <a:ext cx="447507" cy="447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BB31CD42-7720-DD4D-9F93-4240C68C8E3C}"/>
              </a:ext>
            </a:extLst>
          </p:cNvPr>
          <p:cNvSpPr/>
          <p:nvPr userDrawn="1"/>
        </p:nvSpPr>
        <p:spPr>
          <a:xfrm>
            <a:off x="837800" y="4279264"/>
            <a:ext cx="927906" cy="9279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62DE4108-C990-104C-832E-ABB8FE05D175}"/>
              </a:ext>
            </a:extLst>
          </p:cNvPr>
          <p:cNvSpPr/>
          <p:nvPr userDrawn="1"/>
        </p:nvSpPr>
        <p:spPr>
          <a:xfrm>
            <a:off x="1474229" y="5231291"/>
            <a:ext cx="250295" cy="2502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508E1C81-B08C-C34F-951C-D0C54BA363CB}"/>
              </a:ext>
            </a:extLst>
          </p:cNvPr>
          <p:cNvSpPr/>
          <p:nvPr userDrawn="1"/>
        </p:nvSpPr>
        <p:spPr>
          <a:xfrm>
            <a:off x="1911225" y="4263245"/>
            <a:ext cx="250295" cy="2502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865AC42E-D3D7-234E-BC23-EEFDB316CB6A}"/>
              </a:ext>
            </a:extLst>
          </p:cNvPr>
          <p:cNvSpPr/>
          <p:nvPr userDrawn="1"/>
        </p:nvSpPr>
        <p:spPr>
          <a:xfrm>
            <a:off x="1181952" y="3921754"/>
            <a:ext cx="250295" cy="25029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1A56F60C-E705-6640-B037-55CFAC03164B}"/>
              </a:ext>
            </a:extLst>
          </p:cNvPr>
          <p:cNvSpPr/>
          <p:nvPr userDrawn="1"/>
        </p:nvSpPr>
        <p:spPr>
          <a:xfrm>
            <a:off x="863947" y="3831745"/>
            <a:ext cx="229975" cy="229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11045D2-104B-8047-87DC-326D8C696859}"/>
              </a:ext>
            </a:extLst>
          </p:cNvPr>
          <p:cNvSpPr/>
          <p:nvPr userDrawn="1"/>
        </p:nvSpPr>
        <p:spPr>
          <a:xfrm>
            <a:off x="479425" y="3627051"/>
            <a:ext cx="229975" cy="229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096F0699-7456-E34D-82C4-AF3C144B1013}"/>
              </a:ext>
            </a:extLst>
          </p:cNvPr>
          <p:cNvSpPr/>
          <p:nvPr userDrawn="1"/>
        </p:nvSpPr>
        <p:spPr>
          <a:xfrm>
            <a:off x="564780" y="4065326"/>
            <a:ext cx="352131" cy="35213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092F809C-E8DB-D74E-A6DE-776708EBFCB7}"/>
              </a:ext>
            </a:extLst>
          </p:cNvPr>
          <p:cNvSpPr/>
          <p:nvPr userDrawn="1"/>
        </p:nvSpPr>
        <p:spPr>
          <a:xfrm>
            <a:off x="1586448" y="3292012"/>
            <a:ext cx="434579" cy="4345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69CF4C5C-E99F-3249-AA51-5EB2272CF75B}"/>
              </a:ext>
            </a:extLst>
          </p:cNvPr>
          <p:cNvSpPr/>
          <p:nvPr userDrawn="1"/>
        </p:nvSpPr>
        <p:spPr>
          <a:xfrm>
            <a:off x="585567" y="2744980"/>
            <a:ext cx="1000881" cy="100088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2B79DE5-3D6D-FE4E-AE9F-8B62ADE79979}"/>
              </a:ext>
            </a:extLst>
          </p:cNvPr>
          <p:cNvSpPr/>
          <p:nvPr userDrawn="1"/>
        </p:nvSpPr>
        <p:spPr>
          <a:xfrm>
            <a:off x="583483" y="2291799"/>
            <a:ext cx="461514" cy="46151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3EA0C45F-8E32-F546-AFC7-DB8154ED9CCB}"/>
              </a:ext>
            </a:extLst>
          </p:cNvPr>
          <p:cNvSpPr/>
          <p:nvPr userDrawn="1"/>
        </p:nvSpPr>
        <p:spPr>
          <a:xfrm>
            <a:off x="3158629" y="1695061"/>
            <a:ext cx="413231" cy="41323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ABA88D18-A68A-3346-81F3-41127C1737CA}"/>
              </a:ext>
            </a:extLst>
          </p:cNvPr>
          <p:cNvSpPr/>
          <p:nvPr userDrawn="1"/>
        </p:nvSpPr>
        <p:spPr>
          <a:xfrm>
            <a:off x="4433160" y="2064490"/>
            <a:ext cx="232706" cy="2327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19DAC2A7-39FA-0349-B395-E0C64B3AD7F5}"/>
              </a:ext>
            </a:extLst>
          </p:cNvPr>
          <p:cNvSpPr/>
          <p:nvPr userDrawn="1"/>
        </p:nvSpPr>
        <p:spPr>
          <a:xfrm>
            <a:off x="4758375" y="2182515"/>
            <a:ext cx="232706" cy="2327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D3A8AA4A-087F-0C4D-92E4-2E46CE332024}"/>
              </a:ext>
            </a:extLst>
          </p:cNvPr>
          <p:cNvSpPr/>
          <p:nvPr userDrawn="1"/>
        </p:nvSpPr>
        <p:spPr>
          <a:xfrm>
            <a:off x="3442301" y="1353887"/>
            <a:ext cx="357364" cy="3573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E12C8DDC-30EC-9644-B9B0-AB5005D2A43C}"/>
              </a:ext>
            </a:extLst>
          </p:cNvPr>
          <p:cNvSpPr/>
          <p:nvPr userDrawn="1"/>
        </p:nvSpPr>
        <p:spPr>
          <a:xfrm>
            <a:off x="2782003" y="1773919"/>
            <a:ext cx="284117" cy="2841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C8E8E46-EFEB-7045-B5B2-A4743594CDFD}"/>
              </a:ext>
            </a:extLst>
          </p:cNvPr>
          <p:cNvSpPr/>
          <p:nvPr userDrawn="1"/>
        </p:nvSpPr>
        <p:spPr>
          <a:xfrm>
            <a:off x="3123902" y="2182462"/>
            <a:ext cx="236999" cy="2369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27E6F338-A361-634E-84E2-EC03432DF841}"/>
              </a:ext>
            </a:extLst>
          </p:cNvPr>
          <p:cNvSpPr/>
          <p:nvPr userDrawn="1"/>
        </p:nvSpPr>
        <p:spPr>
          <a:xfrm>
            <a:off x="1859299" y="3030884"/>
            <a:ext cx="236999" cy="2369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46ADB1BA-028E-5346-AA32-A72852A2C420}"/>
              </a:ext>
            </a:extLst>
          </p:cNvPr>
          <p:cNvSpPr/>
          <p:nvPr userDrawn="1"/>
        </p:nvSpPr>
        <p:spPr>
          <a:xfrm>
            <a:off x="1674226" y="3019678"/>
            <a:ext cx="135809" cy="13580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99CBD03E-8468-164E-B23D-71FD0A380BF3}"/>
              </a:ext>
            </a:extLst>
          </p:cNvPr>
          <p:cNvSpPr/>
          <p:nvPr userDrawn="1"/>
        </p:nvSpPr>
        <p:spPr>
          <a:xfrm>
            <a:off x="3841185" y="3626908"/>
            <a:ext cx="135809" cy="13580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6438FA2-9D67-D941-8608-4ED76579ABE8}"/>
              </a:ext>
            </a:extLst>
          </p:cNvPr>
          <p:cNvSpPr/>
          <p:nvPr userDrawn="1"/>
        </p:nvSpPr>
        <p:spPr>
          <a:xfrm>
            <a:off x="2085332" y="1140031"/>
            <a:ext cx="468762" cy="4687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B24A4014-9E9B-B64A-BA5B-97572D826472}"/>
              </a:ext>
            </a:extLst>
          </p:cNvPr>
          <p:cNvSpPr/>
          <p:nvPr userDrawn="1"/>
        </p:nvSpPr>
        <p:spPr>
          <a:xfrm>
            <a:off x="2692786" y="1080106"/>
            <a:ext cx="618425" cy="61842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4DE2881B-C17D-9045-9608-F17523DE1170}"/>
              </a:ext>
            </a:extLst>
          </p:cNvPr>
          <p:cNvSpPr/>
          <p:nvPr userDrawn="1"/>
        </p:nvSpPr>
        <p:spPr>
          <a:xfrm>
            <a:off x="2446997" y="1630524"/>
            <a:ext cx="254251" cy="2542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645955B4-4DAD-1D4E-B25A-8186D472902C}"/>
              </a:ext>
            </a:extLst>
          </p:cNvPr>
          <p:cNvSpPr/>
          <p:nvPr userDrawn="1"/>
        </p:nvSpPr>
        <p:spPr>
          <a:xfrm>
            <a:off x="2242038" y="4232811"/>
            <a:ext cx="124114" cy="12411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04761376-E12C-F242-9B2D-02E289E1527A}"/>
              </a:ext>
            </a:extLst>
          </p:cNvPr>
          <p:cNvSpPr/>
          <p:nvPr userDrawn="1"/>
        </p:nvSpPr>
        <p:spPr>
          <a:xfrm>
            <a:off x="3721309" y="4541640"/>
            <a:ext cx="196808" cy="19680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E78D4000-21DD-3F4E-9FCA-870FE3F3842F}"/>
              </a:ext>
            </a:extLst>
          </p:cNvPr>
          <p:cNvSpPr/>
          <p:nvPr userDrawn="1"/>
        </p:nvSpPr>
        <p:spPr>
          <a:xfrm>
            <a:off x="3090449" y="5629292"/>
            <a:ext cx="220761" cy="2207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3D207688-F7CF-304A-A500-DB2C3C14F52E}"/>
              </a:ext>
            </a:extLst>
          </p:cNvPr>
          <p:cNvSpPr/>
          <p:nvPr userDrawn="1"/>
        </p:nvSpPr>
        <p:spPr>
          <a:xfrm>
            <a:off x="3980548" y="5481586"/>
            <a:ext cx="155769" cy="1557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9FD37114-4F44-A84C-8CF0-B45E5AB27C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99772" y="95848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ED1AD4D-5B1C-8643-892D-BF8307288E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99772" y="175552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3D55DE99-1533-8545-832E-1AA9AECB53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99772" y="215099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74A63A03-168A-D24A-AF03-C29FA0396F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99772" y="347393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569DDBF-7F44-0648-B9DF-AA6242A77C4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99772" y="427097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951681BF-D14E-9F41-90AC-98BE3018DA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99772" y="466644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850679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ogram +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C5DB054-2D0A-824A-B5B9-7AEA9A34E9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0CE1A1-08E4-F04F-89CA-9BF80131B6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0060" y="908245"/>
            <a:ext cx="2833605" cy="24574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0A78A27-06D6-4D42-A3F1-4B3F9842BD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E060B54-A659-0A4B-9C6B-AFE62E6963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00938" y="535056"/>
            <a:ext cx="4211637" cy="591762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08F12A1-78CC-4E4A-82D9-5DC400F5D6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938" y="1437774"/>
            <a:ext cx="4211637" cy="2508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758198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Large Circl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07B7561-BC29-AC42-B289-CCC5C6B1C8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3258074" cy="365125"/>
          </a:xfrm>
        </p:spPr>
        <p:txBody>
          <a:bodyPr/>
          <a:lstStyle/>
          <a:p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CFDEB8B-6F38-7A40-87C4-DE03F0016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AF92A81-F0A3-A248-AC14-262A89F8C16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80060" y="535056"/>
            <a:ext cx="4211637" cy="591762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2C69D90-C75B-DE49-9208-D359AA58A09F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80060" y="1437774"/>
            <a:ext cx="4211637" cy="205157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298B7A7-2F14-F644-BC42-053ED71EA4EB}"/>
              </a:ext>
            </a:extLst>
          </p:cNvPr>
          <p:cNvGrpSpPr/>
          <p:nvPr userDrawn="1"/>
        </p:nvGrpSpPr>
        <p:grpSpPr>
          <a:xfrm>
            <a:off x="0" y="3936907"/>
            <a:ext cx="12191999" cy="2224800"/>
            <a:chOff x="0" y="3936907"/>
            <a:chExt cx="12191999" cy="22248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F4A1BBE-6133-244F-BA63-EB29845F4A8B}"/>
                </a:ext>
              </a:extLst>
            </p:cNvPr>
            <p:cNvSpPr/>
            <p:nvPr userDrawn="1"/>
          </p:nvSpPr>
          <p:spPr>
            <a:xfrm>
              <a:off x="1655891" y="3936907"/>
              <a:ext cx="2223157" cy="2224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811C22-3662-614A-BE82-7742C01ED99D}"/>
                </a:ext>
              </a:extLst>
            </p:cNvPr>
            <p:cNvSpPr/>
            <p:nvPr userDrawn="1"/>
          </p:nvSpPr>
          <p:spPr>
            <a:xfrm>
              <a:off x="3879061" y="3936907"/>
              <a:ext cx="2223157" cy="22248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ED07E9B-D25A-B54E-A4C5-9C7756275F16}"/>
                </a:ext>
              </a:extLst>
            </p:cNvPr>
            <p:cNvSpPr/>
            <p:nvPr userDrawn="1"/>
          </p:nvSpPr>
          <p:spPr>
            <a:xfrm>
              <a:off x="6102231" y="3936907"/>
              <a:ext cx="2223157" cy="22248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4B0EB3E-97FF-5D4D-B14A-1975A557CD73}"/>
                </a:ext>
              </a:extLst>
            </p:cNvPr>
            <p:cNvSpPr/>
            <p:nvPr userDrawn="1"/>
          </p:nvSpPr>
          <p:spPr>
            <a:xfrm>
              <a:off x="8325401" y="3936907"/>
              <a:ext cx="2223157" cy="22248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1C170C39-ACFB-2B49-BDCE-8E606FEA837E}"/>
                </a:ext>
              </a:extLst>
            </p:cNvPr>
            <p:cNvSpPr/>
            <p:nvPr userDrawn="1"/>
          </p:nvSpPr>
          <p:spPr>
            <a:xfrm>
              <a:off x="0" y="3936907"/>
              <a:ext cx="1655879" cy="2224800"/>
            </a:xfrm>
            <a:custGeom>
              <a:avLst/>
              <a:gdLst>
                <a:gd name="connsiteX0" fmla="*/ 544300 w 1655879"/>
                <a:gd name="connsiteY0" fmla="*/ 0 h 2224800"/>
                <a:gd name="connsiteX1" fmla="*/ 1655879 w 1655879"/>
                <a:gd name="connsiteY1" fmla="*/ 1112400 h 2224800"/>
                <a:gd name="connsiteX2" fmla="*/ 544300 w 1655879"/>
                <a:gd name="connsiteY2" fmla="*/ 2224800 h 2224800"/>
                <a:gd name="connsiteX3" fmla="*/ 14456 w 1655879"/>
                <a:gd name="connsiteY3" fmla="*/ 2090539 h 2224800"/>
                <a:gd name="connsiteX4" fmla="*/ 0 w 1655879"/>
                <a:gd name="connsiteY4" fmla="*/ 2081751 h 2224800"/>
                <a:gd name="connsiteX5" fmla="*/ 0 w 1655879"/>
                <a:gd name="connsiteY5" fmla="*/ 143050 h 2224800"/>
                <a:gd name="connsiteX6" fmla="*/ 14456 w 1655879"/>
                <a:gd name="connsiteY6" fmla="*/ 134261 h 2224800"/>
                <a:gd name="connsiteX7" fmla="*/ 544300 w 1655879"/>
                <a:gd name="connsiteY7" fmla="*/ 0 h 222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5879" h="2224800">
                  <a:moveTo>
                    <a:pt x="544300" y="0"/>
                  </a:moveTo>
                  <a:cubicBezTo>
                    <a:pt x="1158208" y="0"/>
                    <a:pt x="1655879" y="498038"/>
                    <a:pt x="1655879" y="1112400"/>
                  </a:cubicBezTo>
                  <a:cubicBezTo>
                    <a:pt x="1655879" y="1726762"/>
                    <a:pt x="1158208" y="2224800"/>
                    <a:pt x="544300" y="2224800"/>
                  </a:cubicBezTo>
                  <a:cubicBezTo>
                    <a:pt x="352454" y="2224800"/>
                    <a:pt x="171959" y="2176164"/>
                    <a:pt x="14456" y="2090539"/>
                  </a:cubicBezTo>
                  <a:lnTo>
                    <a:pt x="0" y="2081751"/>
                  </a:lnTo>
                  <a:lnTo>
                    <a:pt x="0" y="143050"/>
                  </a:lnTo>
                  <a:lnTo>
                    <a:pt x="14456" y="134261"/>
                  </a:lnTo>
                  <a:cubicBezTo>
                    <a:pt x="171959" y="48637"/>
                    <a:pt x="352454" y="0"/>
                    <a:pt x="54430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7CB8D7B9-59DF-9B44-8B33-BDBA1B331CB2}"/>
                </a:ext>
              </a:extLst>
            </p:cNvPr>
            <p:cNvSpPr/>
            <p:nvPr userDrawn="1"/>
          </p:nvSpPr>
          <p:spPr>
            <a:xfrm>
              <a:off x="10548569" y="3936907"/>
              <a:ext cx="1643430" cy="2224800"/>
            </a:xfrm>
            <a:custGeom>
              <a:avLst/>
              <a:gdLst>
                <a:gd name="connsiteX0" fmla="*/ 1111579 w 1643430"/>
                <a:gd name="connsiteY0" fmla="*/ 0 h 2224800"/>
                <a:gd name="connsiteX1" fmla="*/ 1641423 w 1643430"/>
                <a:gd name="connsiteY1" fmla="*/ 134261 h 2224800"/>
                <a:gd name="connsiteX2" fmla="*/ 1643430 w 1643430"/>
                <a:gd name="connsiteY2" fmla="*/ 135481 h 2224800"/>
                <a:gd name="connsiteX3" fmla="*/ 1643430 w 1643430"/>
                <a:gd name="connsiteY3" fmla="*/ 2089319 h 2224800"/>
                <a:gd name="connsiteX4" fmla="*/ 1641423 w 1643430"/>
                <a:gd name="connsiteY4" fmla="*/ 2090539 h 2224800"/>
                <a:gd name="connsiteX5" fmla="*/ 1111579 w 1643430"/>
                <a:gd name="connsiteY5" fmla="*/ 2224800 h 2224800"/>
                <a:gd name="connsiteX6" fmla="*/ 0 w 1643430"/>
                <a:gd name="connsiteY6" fmla="*/ 1112400 h 2224800"/>
                <a:gd name="connsiteX7" fmla="*/ 1111579 w 1643430"/>
                <a:gd name="connsiteY7" fmla="*/ 0 h 222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3430" h="2224800">
                  <a:moveTo>
                    <a:pt x="1111579" y="0"/>
                  </a:moveTo>
                  <a:cubicBezTo>
                    <a:pt x="1303425" y="0"/>
                    <a:pt x="1483920" y="48637"/>
                    <a:pt x="1641423" y="134261"/>
                  </a:cubicBezTo>
                  <a:lnTo>
                    <a:pt x="1643430" y="135481"/>
                  </a:lnTo>
                  <a:lnTo>
                    <a:pt x="1643430" y="2089319"/>
                  </a:lnTo>
                  <a:lnTo>
                    <a:pt x="1641423" y="2090539"/>
                  </a:lnTo>
                  <a:cubicBezTo>
                    <a:pt x="1483920" y="2176164"/>
                    <a:pt x="1303425" y="2224800"/>
                    <a:pt x="1111579" y="2224800"/>
                  </a:cubicBezTo>
                  <a:cubicBezTo>
                    <a:pt x="497671" y="2224800"/>
                    <a:pt x="0" y="1726762"/>
                    <a:pt x="0" y="1112400"/>
                  </a:cubicBezTo>
                  <a:cubicBezTo>
                    <a:pt x="0" y="498038"/>
                    <a:pt x="497671" y="0"/>
                    <a:pt x="1111579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854915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Circles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BA82302-C2F3-224D-9776-12CAEDECAF7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325744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30B3DC06-59FB-EE4F-A730-911D0B7DA18C}"/>
              </a:ext>
            </a:extLst>
          </p:cNvPr>
          <p:cNvSpPr/>
          <p:nvPr userDrawn="1"/>
        </p:nvSpPr>
        <p:spPr>
          <a:xfrm>
            <a:off x="0" y="3723003"/>
            <a:ext cx="1144549" cy="2224800"/>
          </a:xfrm>
          <a:custGeom>
            <a:avLst/>
            <a:gdLst>
              <a:gd name="connsiteX0" fmla="*/ 32970 w 1144549"/>
              <a:gd name="connsiteY0" fmla="*/ 0 h 2224800"/>
              <a:gd name="connsiteX1" fmla="*/ 1144549 w 1144549"/>
              <a:gd name="connsiteY1" fmla="*/ 1112400 h 2224800"/>
              <a:gd name="connsiteX2" fmla="*/ 32970 w 1144549"/>
              <a:gd name="connsiteY2" fmla="*/ 2224800 h 2224800"/>
              <a:gd name="connsiteX3" fmla="*/ 0 w 1144549"/>
              <a:gd name="connsiteY3" fmla="*/ 2223134 h 2224800"/>
              <a:gd name="connsiteX4" fmla="*/ 0 w 1144549"/>
              <a:gd name="connsiteY4" fmla="*/ 1666 h 2224800"/>
              <a:gd name="connsiteX5" fmla="*/ 32970 w 1144549"/>
              <a:gd name="connsiteY5" fmla="*/ 0 h 222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4549" h="2224800">
                <a:moveTo>
                  <a:pt x="32970" y="0"/>
                </a:moveTo>
                <a:cubicBezTo>
                  <a:pt x="646878" y="0"/>
                  <a:pt x="1144549" y="498038"/>
                  <a:pt x="1144549" y="1112400"/>
                </a:cubicBezTo>
                <a:cubicBezTo>
                  <a:pt x="1144549" y="1726762"/>
                  <a:pt x="646878" y="2224800"/>
                  <a:pt x="32970" y="2224800"/>
                </a:cubicBezTo>
                <a:lnTo>
                  <a:pt x="0" y="2223134"/>
                </a:lnTo>
                <a:lnTo>
                  <a:pt x="0" y="1666"/>
                </a:lnTo>
                <a:lnTo>
                  <a:pt x="3297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DDF5F8C-5779-324B-9896-2777291E7075}"/>
              </a:ext>
            </a:extLst>
          </p:cNvPr>
          <p:cNvSpPr/>
          <p:nvPr userDrawn="1"/>
        </p:nvSpPr>
        <p:spPr>
          <a:xfrm>
            <a:off x="4686122" y="3565607"/>
            <a:ext cx="1432560" cy="14325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612C877-5DBF-3B44-BC50-196C86F0B01E}"/>
              </a:ext>
            </a:extLst>
          </p:cNvPr>
          <p:cNvSpPr/>
          <p:nvPr userDrawn="1"/>
        </p:nvSpPr>
        <p:spPr>
          <a:xfrm>
            <a:off x="4462812" y="1664303"/>
            <a:ext cx="753506" cy="75350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927B426D-DF64-FA4F-BA26-CF11F8040BE5}"/>
              </a:ext>
            </a:extLst>
          </p:cNvPr>
          <p:cNvSpPr/>
          <p:nvPr userDrawn="1"/>
        </p:nvSpPr>
        <p:spPr>
          <a:xfrm>
            <a:off x="5225600" y="1543718"/>
            <a:ext cx="927906" cy="9279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A7C707D-2115-3E48-A310-D15D1304197C}"/>
              </a:ext>
            </a:extLst>
          </p:cNvPr>
          <p:cNvSpPr/>
          <p:nvPr userDrawn="1"/>
        </p:nvSpPr>
        <p:spPr>
          <a:xfrm>
            <a:off x="2346261" y="4785899"/>
            <a:ext cx="1432560" cy="14325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E5A050C0-A12B-E04A-8CA8-464A257D2C40}"/>
              </a:ext>
            </a:extLst>
          </p:cNvPr>
          <p:cNvSpPr/>
          <p:nvPr userDrawn="1"/>
        </p:nvSpPr>
        <p:spPr>
          <a:xfrm>
            <a:off x="4398998" y="230806"/>
            <a:ext cx="1206968" cy="12069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EF8C3D3-7704-DA4E-9A23-40B935D8A5E9}"/>
              </a:ext>
            </a:extLst>
          </p:cNvPr>
          <p:cNvSpPr/>
          <p:nvPr userDrawn="1"/>
        </p:nvSpPr>
        <p:spPr>
          <a:xfrm>
            <a:off x="5604783" y="135560"/>
            <a:ext cx="548723" cy="54872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084D9F6-6EDB-2244-A636-E5F6A5266186}"/>
              </a:ext>
            </a:extLst>
          </p:cNvPr>
          <p:cNvSpPr/>
          <p:nvPr userDrawn="1"/>
        </p:nvSpPr>
        <p:spPr>
          <a:xfrm>
            <a:off x="3232163" y="1277902"/>
            <a:ext cx="258860" cy="2588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3E0E38A-EF8A-B34D-9A18-0BC329FEED94}"/>
              </a:ext>
            </a:extLst>
          </p:cNvPr>
          <p:cNvSpPr/>
          <p:nvPr userDrawn="1"/>
        </p:nvSpPr>
        <p:spPr>
          <a:xfrm>
            <a:off x="1656977" y="2030984"/>
            <a:ext cx="689284" cy="68928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" name="Freeform 73">
            <a:extLst>
              <a:ext uri="{FF2B5EF4-FFF2-40B4-BE49-F238E27FC236}">
                <a16:creationId xmlns:a16="http://schemas.microsoft.com/office/drawing/2014/main" id="{B6E4CACF-9208-094A-B345-40F0F52839D3}"/>
              </a:ext>
            </a:extLst>
          </p:cNvPr>
          <p:cNvSpPr/>
          <p:nvPr userDrawn="1"/>
        </p:nvSpPr>
        <p:spPr>
          <a:xfrm>
            <a:off x="2467253" y="0"/>
            <a:ext cx="1106016" cy="786000"/>
          </a:xfrm>
          <a:custGeom>
            <a:avLst/>
            <a:gdLst>
              <a:gd name="connsiteX0" fmla="*/ 53085 w 1106016"/>
              <a:gd name="connsiteY0" fmla="*/ 0 h 786000"/>
              <a:gd name="connsiteX1" fmla="*/ 1052931 w 1106016"/>
              <a:gd name="connsiteY1" fmla="*/ 0 h 786000"/>
              <a:gd name="connsiteX2" fmla="*/ 1062558 w 1106016"/>
              <a:gd name="connsiteY2" fmla="*/ 17736 h 786000"/>
              <a:gd name="connsiteX3" fmla="*/ 1106016 w 1106016"/>
              <a:gd name="connsiteY3" fmla="*/ 232992 h 786000"/>
              <a:gd name="connsiteX4" fmla="*/ 553008 w 1106016"/>
              <a:gd name="connsiteY4" fmla="*/ 786000 h 786000"/>
              <a:gd name="connsiteX5" fmla="*/ 0 w 1106016"/>
              <a:gd name="connsiteY5" fmla="*/ 232992 h 786000"/>
              <a:gd name="connsiteX6" fmla="*/ 43458 w 1106016"/>
              <a:gd name="connsiteY6" fmla="*/ 17736 h 786000"/>
              <a:gd name="connsiteX7" fmla="*/ 53085 w 1106016"/>
              <a:gd name="connsiteY7" fmla="*/ 0 h 7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06016" h="786000">
                <a:moveTo>
                  <a:pt x="53085" y="0"/>
                </a:moveTo>
                <a:lnTo>
                  <a:pt x="1052931" y="0"/>
                </a:lnTo>
                <a:lnTo>
                  <a:pt x="1062558" y="17736"/>
                </a:lnTo>
                <a:cubicBezTo>
                  <a:pt x="1090542" y="83897"/>
                  <a:pt x="1106016" y="156637"/>
                  <a:pt x="1106016" y="232992"/>
                </a:cubicBezTo>
                <a:cubicBezTo>
                  <a:pt x="1106016" y="538410"/>
                  <a:pt x="858426" y="786000"/>
                  <a:pt x="553008" y="786000"/>
                </a:cubicBezTo>
                <a:cubicBezTo>
                  <a:pt x="247590" y="786000"/>
                  <a:pt x="0" y="538410"/>
                  <a:pt x="0" y="232992"/>
                </a:cubicBezTo>
                <a:cubicBezTo>
                  <a:pt x="0" y="156637"/>
                  <a:pt x="15475" y="83897"/>
                  <a:pt x="43458" y="17736"/>
                </a:cubicBezTo>
                <a:lnTo>
                  <a:pt x="53085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0139B44F-504A-3643-9E14-BAD85EF673C8}"/>
              </a:ext>
            </a:extLst>
          </p:cNvPr>
          <p:cNvSpPr/>
          <p:nvPr userDrawn="1"/>
        </p:nvSpPr>
        <p:spPr>
          <a:xfrm>
            <a:off x="5032731" y="-1353"/>
            <a:ext cx="824746" cy="531027"/>
          </a:xfrm>
          <a:custGeom>
            <a:avLst/>
            <a:gdLst>
              <a:gd name="connsiteX0" fmla="*/ 19412 w 824746"/>
              <a:gd name="connsiteY0" fmla="*/ 0 h 531027"/>
              <a:gd name="connsiteX1" fmla="*/ 805334 w 824746"/>
              <a:gd name="connsiteY1" fmla="*/ 0 h 531027"/>
              <a:gd name="connsiteX2" fmla="*/ 816368 w 824746"/>
              <a:gd name="connsiteY2" fmla="*/ 35547 h 531027"/>
              <a:gd name="connsiteX3" fmla="*/ 824746 w 824746"/>
              <a:gd name="connsiteY3" fmla="*/ 118654 h 531027"/>
              <a:gd name="connsiteX4" fmla="*/ 412373 w 824746"/>
              <a:gd name="connsiteY4" fmla="*/ 531027 h 531027"/>
              <a:gd name="connsiteX5" fmla="*/ 0 w 824746"/>
              <a:gd name="connsiteY5" fmla="*/ 118654 h 531027"/>
              <a:gd name="connsiteX6" fmla="*/ 8378 w 824746"/>
              <a:gd name="connsiteY6" fmla="*/ 35547 h 531027"/>
              <a:gd name="connsiteX7" fmla="*/ 19412 w 824746"/>
              <a:gd name="connsiteY7" fmla="*/ 0 h 531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746" h="531027">
                <a:moveTo>
                  <a:pt x="19412" y="0"/>
                </a:moveTo>
                <a:lnTo>
                  <a:pt x="805334" y="0"/>
                </a:lnTo>
                <a:lnTo>
                  <a:pt x="816368" y="35547"/>
                </a:lnTo>
                <a:cubicBezTo>
                  <a:pt x="821861" y="62391"/>
                  <a:pt x="824746" y="90186"/>
                  <a:pt x="824746" y="118654"/>
                </a:cubicBezTo>
                <a:cubicBezTo>
                  <a:pt x="824746" y="346401"/>
                  <a:pt x="640120" y="531027"/>
                  <a:pt x="412373" y="531027"/>
                </a:cubicBezTo>
                <a:cubicBezTo>
                  <a:pt x="184626" y="531027"/>
                  <a:pt x="0" y="346401"/>
                  <a:pt x="0" y="118654"/>
                </a:cubicBezTo>
                <a:cubicBezTo>
                  <a:pt x="0" y="90186"/>
                  <a:pt x="2885" y="62391"/>
                  <a:pt x="8378" y="35547"/>
                </a:cubicBezTo>
                <a:lnTo>
                  <a:pt x="1941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Freeform 70">
            <a:extLst>
              <a:ext uri="{FF2B5EF4-FFF2-40B4-BE49-F238E27FC236}">
                <a16:creationId xmlns:a16="http://schemas.microsoft.com/office/drawing/2014/main" id="{BEC0AD81-72D6-9645-9E23-31041CDD931B}"/>
              </a:ext>
            </a:extLst>
          </p:cNvPr>
          <p:cNvSpPr/>
          <p:nvPr userDrawn="1"/>
        </p:nvSpPr>
        <p:spPr>
          <a:xfrm>
            <a:off x="0" y="3804845"/>
            <a:ext cx="863575" cy="1193322"/>
          </a:xfrm>
          <a:custGeom>
            <a:avLst/>
            <a:gdLst>
              <a:gd name="connsiteX0" fmla="*/ 266914 w 863575"/>
              <a:gd name="connsiteY0" fmla="*/ 0 h 1193322"/>
              <a:gd name="connsiteX1" fmla="*/ 863575 w 863575"/>
              <a:gd name="connsiteY1" fmla="*/ 596661 h 1193322"/>
              <a:gd name="connsiteX2" fmla="*/ 266914 w 863575"/>
              <a:gd name="connsiteY2" fmla="*/ 1193322 h 1193322"/>
              <a:gd name="connsiteX3" fmla="*/ 34667 w 863575"/>
              <a:gd name="connsiteY3" fmla="*/ 1146433 h 1193322"/>
              <a:gd name="connsiteX4" fmla="*/ 0 w 863575"/>
              <a:gd name="connsiteY4" fmla="*/ 1127617 h 1193322"/>
              <a:gd name="connsiteX5" fmla="*/ 0 w 863575"/>
              <a:gd name="connsiteY5" fmla="*/ 65705 h 1193322"/>
              <a:gd name="connsiteX6" fmla="*/ 34667 w 863575"/>
              <a:gd name="connsiteY6" fmla="*/ 46889 h 1193322"/>
              <a:gd name="connsiteX7" fmla="*/ 266914 w 863575"/>
              <a:gd name="connsiteY7" fmla="*/ 0 h 1193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3575" h="1193322">
                <a:moveTo>
                  <a:pt x="266914" y="0"/>
                </a:moveTo>
                <a:cubicBezTo>
                  <a:pt x="596441" y="0"/>
                  <a:pt x="863575" y="267134"/>
                  <a:pt x="863575" y="596661"/>
                </a:cubicBezTo>
                <a:cubicBezTo>
                  <a:pt x="863575" y="926188"/>
                  <a:pt x="596441" y="1193322"/>
                  <a:pt x="266914" y="1193322"/>
                </a:cubicBezTo>
                <a:cubicBezTo>
                  <a:pt x="184532" y="1193322"/>
                  <a:pt x="106050" y="1176626"/>
                  <a:pt x="34667" y="1146433"/>
                </a:cubicBezTo>
                <a:lnTo>
                  <a:pt x="0" y="1127617"/>
                </a:lnTo>
                <a:lnTo>
                  <a:pt x="0" y="65705"/>
                </a:lnTo>
                <a:lnTo>
                  <a:pt x="34667" y="46889"/>
                </a:lnTo>
                <a:cubicBezTo>
                  <a:pt x="106050" y="16696"/>
                  <a:pt x="184532" y="0"/>
                  <a:pt x="26691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Freeform 69">
            <a:extLst>
              <a:ext uri="{FF2B5EF4-FFF2-40B4-BE49-F238E27FC236}">
                <a16:creationId xmlns:a16="http://schemas.microsoft.com/office/drawing/2014/main" id="{CAF7B0BD-A0FB-4140-9BE6-8B9CD5E17013}"/>
              </a:ext>
            </a:extLst>
          </p:cNvPr>
          <p:cNvSpPr/>
          <p:nvPr userDrawn="1"/>
        </p:nvSpPr>
        <p:spPr>
          <a:xfrm>
            <a:off x="7235915" y="5695602"/>
            <a:ext cx="1432560" cy="1162398"/>
          </a:xfrm>
          <a:custGeom>
            <a:avLst/>
            <a:gdLst>
              <a:gd name="connsiteX0" fmla="*/ 716280 w 1432560"/>
              <a:gd name="connsiteY0" fmla="*/ 0 h 1162398"/>
              <a:gd name="connsiteX1" fmla="*/ 1432560 w 1432560"/>
              <a:gd name="connsiteY1" fmla="*/ 716280 h 1162398"/>
              <a:gd name="connsiteX2" fmla="*/ 1310231 w 1432560"/>
              <a:gd name="connsiteY2" fmla="*/ 1116759 h 1162398"/>
              <a:gd name="connsiteX3" fmla="*/ 1272576 w 1432560"/>
              <a:gd name="connsiteY3" fmla="*/ 1162398 h 1162398"/>
              <a:gd name="connsiteX4" fmla="*/ 159985 w 1432560"/>
              <a:gd name="connsiteY4" fmla="*/ 1162398 h 1162398"/>
              <a:gd name="connsiteX5" fmla="*/ 122329 w 1432560"/>
              <a:gd name="connsiteY5" fmla="*/ 1116759 h 1162398"/>
              <a:gd name="connsiteX6" fmla="*/ 0 w 1432560"/>
              <a:gd name="connsiteY6" fmla="*/ 716280 h 1162398"/>
              <a:gd name="connsiteX7" fmla="*/ 716280 w 1432560"/>
              <a:gd name="connsiteY7" fmla="*/ 0 h 116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32560" h="1162398">
                <a:moveTo>
                  <a:pt x="716280" y="0"/>
                </a:moveTo>
                <a:cubicBezTo>
                  <a:pt x="1111871" y="0"/>
                  <a:pt x="1432560" y="320689"/>
                  <a:pt x="1432560" y="716280"/>
                </a:cubicBezTo>
                <a:cubicBezTo>
                  <a:pt x="1432560" y="864627"/>
                  <a:pt x="1387463" y="1002440"/>
                  <a:pt x="1310231" y="1116759"/>
                </a:cubicBezTo>
                <a:lnTo>
                  <a:pt x="1272576" y="1162398"/>
                </a:lnTo>
                <a:lnTo>
                  <a:pt x="159985" y="1162398"/>
                </a:lnTo>
                <a:lnTo>
                  <a:pt x="122329" y="1116759"/>
                </a:lnTo>
                <a:cubicBezTo>
                  <a:pt x="45097" y="1002440"/>
                  <a:pt x="0" y="864627"/>
                  <a:pt x="0" y="716280"/>
                </a:cubicBezTo>
                <a:cubicBezTo>
                  <a:pt x="0" y="320689"/>
                  <a:pt x="320689" y="0"/>
                  <a:pt x="71628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B42D3D1-8FA9-CC47-BC04-41214F90B475}"/>
              </a:ext>
            </a:extLst>
          </p:cNvPr>
          <p:cNvSpPr/>
          <p:nvPr userDrawn="1"/>
        </p:nvSpPr>
        <p:spPr>
          <a:xfrm>
            <a:off x="6746894" y="5559914"/>
            <a:ext cx="829636" cy="82963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181460B-D32B-7F4A-9DC2-C60183C4E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F761C15-8FC1-6E4C-B034-94E0974F76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00938" y="535056"/>
            <a:ext cx="4211637" cy="591762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D9CD1FB-6EC5-D440-9991-E43C7B11EB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938" y="1437774"/>
            <a:ext cx="4211637" cy="2508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554552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Circl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AECBAF9-5884-DF47-95C3-55525432EB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3257440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DDF5F8C-5779-324B-9896-2777291E7075}"/>
              </a:ext>
            </a:extLst>
          </p:cNvPr>
          <p:cNvSpPr/>
          <p:nvPr userDrawn="1"/>
        </p:nvSpPr>
        <p:spPr>
          <a:xfrm>
            <a:off x="4686122" y="3565607"/>
            <a:ext cx="1432560" cy="14325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612C877-5DBF-3B44-BC50-196C86F0B01E}"/>
              </a:ext>
            </a:extLst>
          </p:cNvPr>
          <p:cNvSpPr/>
          <p:nvPr userDrawn="1"/>
        </p:nvSpPr>
        <p:spPr>
          <a:xfrm>
            <a:off x="4462812" y="1664303"/>
            <a:ext cx="753506" cy="75350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927B426D-DF64-FA4F-BA26-CF11F8040BE5}"/>
              </a:ext>
            </a:extLst>
          </p:cNvPr>
          <p:cNvSpPr/>
          <p:nvPr userDrawn="1"/>
        </p:nvSpPr>
        <p:spPr>
          <a:xfrm>
            <a:off x="5225600" y="1543718"/>
            <a:ext cx="927906" cy="9279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A7C707D-2115-3E48-A310-D15D1304197C}"/>
              </a:ext>
            </a:extLst>
          </p:cNvPr>
          <p:cNvSpPr/>
          <p:nvPr userDrawn="1"/>
        </p:nvSpPr>
        <p:spPr>
          <a:xfrm>
            <a:off x="2346261" y="4785899"/>
            <a:ext cx="1432560" cy="14325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E5A050C0-A12B-E04A-8CA8-464A257D2C40}"/>
              </a:ext>
            </a:extLst>
          </p:cNvPr>
          <p:cNvSpPr/>
          <p:nvPr userDrawn="1"/>
        </p:nvSpPr>
        <p:spPr>
          <a:xfrm>
            <a:off x="4398998" y="230806"/>
            <a:ext cx="1206968" cy="12069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EF8C3D3-7704-DA4E-9A23-40B935D8A5E9}"/>
              </a:ext>
            </a:extLst>
          </p:cNvPr>
          <p:cNvSpPr/>
          <p:nvPr userDrawn="1"/>
        </p:nvSpPr>
        <p:spPr>
          <a:xfrm>
            <a:off x="5604783" y="135560"/>
            <a:ext cx="548723" cy="54872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084D9F6-6EDB-2244-A636-E5F6A5266186}"/>
              </a:ext>
            </a:extLst>
          </p:cNvPr>
          <p:cNvSpPr/>
          <p:nvPr userDrawn="1"/>
        </p:nvSpPr>
        <p:spPr>
          <a:xfrm>
            <a:off x="3232163" y="1277902"/>
            <a:ext cx="258860" cy="2588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3E0E38A-EF8A-B34D-9A18-0BC329FEED94}"/>
              </a:ext>
            </a:extLst>
          </p:cNvPr>
          <p:cNvSpPr/>
          <p:nvPr userDrawn="1"/>
        </p:nvSpPr>
        <p:spPr>
          <a:xfrm>
            <a:off x="1656977" y="2030984"/>
            <a:ext cx="689284" cy="68928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" name="Freeform 73">
            <a:extLst>
              <a:ext uri="{FF2B5EF4-FFF2-40B4-BE49-F238E27FC236}">
                <a16:creationId xmlns:a16="http://schemas.microsoft.com/office/drawing/2014/main" id="{B6E4CACF-9208-094A-B345-40F0F52839D3}"/>
              </a:ext>
            </a:extLst>
          </p:cNvPr>
          <p:cNvSpPr/>
          <p:nvPr userDrawn="1"/>
        </p:nvSpPr>
        <p:spPr>
          <a:xfrm>
            <a:off x="2467253" y="0"/>
            <a:ext cx="1106016" cy="786000"/>
          </a:xfrm>
          <a:custGeom>
            <a:avLst/>
            <a:gdLst>
              <a:gd name="connsiteX0" fmla="*/ 53085 w 1106016"/>
              <a:gd name="connsiteY0" fmla="*/ 0 h 786000"/>
              <a:gd name="connsiteX1" fmla="*/ 1052931 w 1106016"/>
              <a:gd name="connsiteY1" fmla="*/ 0 h 786000"/>
              <a:gd name="connsiteX2" fmla="*/ 1062558 w 1106016"/>
              <a:gd name="connsiteY2" fmla="*/ 17736 h 786000"/>
              <a:gd name="connsiteX3" fmla="*/ 1106016 w 1106016"/>
              <a:gd name="connsiteY3" fmla="*/ 232992 h 786000"/>
              <a:gd name="connsiteX4" fmla="*/ 553008 w 1106016"/>
              <a:gd name="connsiteY4" fmla="*/ 786000 h 786000"/>
              <a:gd name="connsiteX5" fmla="*/ 0 w 1106016"/>
              <a:gd name="connsiteY5" fmla="*/ 232992 h 786000"/>
              <a:gd name="connsiteX6" fmla="*/ 43458 w 1106016"/>
              <a:gd name="connsiteY6" fmla="*/ 17736 h 786000"/>
              <a:gd name="connsiteX7" fmla="*/ 53085 w 1106016"/>
              <a:gd name="connsiteY7" fmla="*/ 0 h 7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06016" h="786000">
                <a:moveTo>
                  <a:pt x="53085" y="0"/>
                </a:moveTo>
                <a:lnTo>
                  <a:pt x="1052931" y="0"/>
                </a:lnTo>
                <a:lnTo>
                  <a:pt x="1062558" y="17736"/>
                </a:lnTo>
                <a:cubicBezTo>
                  <a:pt x="1090542" y="83897"/>
                  <a:pt x="1106016" y="156637"/>
                  <a:pt x="1106016" y="232992"/>
                </a:cubicBezTo>
                <a:cubicBezTo>
                  <a:pt x="1106016" y="538410"/>
                  <a:pt x="858426" y="786000"/>
                  <a:pt x="553008" y="786000"/>
                </a:cubicBezTo>
                <a:cubicBezTo>
                  <a:pt x="247590" y="786000"/>
                  <a:pt x="0" y="538410"/>
                  <a:pt x="0" y="232992"/>
                </a:cubicBezTo>
                <a:cubicBezTo>
                  <a:pt x="0" y="156637"/>
                  <a:pt x="15475" y="83897"/>
                  <a:pt x="43458" y="17736"/>
                </a:cubicBezTo>
                <a:lnTo>
                  <a:pt x="53085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0139B44F-504A-3643-9E14-BAD85EF673C8}"/>
              </a:ext>
            </a:extLst>
          </p:cNvPr>
          <p:cNvSpPr/>
          <p:nvPr userDrawn="1"/>
        </p:nvSpPr>
        <p:spPr>
          <a:xfrm>
            <a:off x="5032731" y="-1353"/>
            <a:ext cx="824746" cy="531027"/>
          </a:xfrm>
          <a:custGeom>
            <a:avLst/>
            <a:gdLst>
              <a:gd name="connsiteX0" fmla="*/ 19412 w 824746"/>
              <a:gd name="connsiteY0" fmla="*/ 0 h 531027"/>
              <a:gd name="connsiteX1" fmla="*/ 805334 w 824746"/>
              <a:gd name="connsiteY1" fmla="*/ 0 h 531027"/>
              <a:gd name="connsiteX2" fmla="*/ 816368 w 824746"/>
              <a:gd name="connsiteY2" fmla="*/ 35547 h 531027"/>
              <a:gd name="connsiteX3" fmla="*/ 824746 w 824746"/>
              <a:gd name="connsiteY3" fmla="*/ 118654 h 531027"/>
              <a:gd name="connsiteX4" fmla="*/ 412373 w 824746"/>
              <a:gd name="connsiteY4" fmla="*/ 531027 h 531027"/>
              <a:gd name="connsiteX5" fmla="*/ 0 w 824746"/>
              <a:gd name="connsiteY5" fmla="*/ 118654 h 531027"/>
              <a:gd name="connsiteX6" fmla="*/ 8378 w 824746"/>
              <a:gd name="connsiteY6" fmla="*/ 35547 h 531027"/>
              <a:gd name="connsiteX7" fmla="*/ 19412 w 824746"/>
              <a:gd name="connsiteY7" fmla="*/ 0 h 531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746" h="531027">
                <a:moveTo>
                  <a:pt x="19412" y="0"/>
                </a:moveTo>
                <a:lnTo>
                  <a:pt x="805334" y="0"/>
                </a:lnTo>
                <a:lnTo>
                  <a:pt x="816368" y="35547"/>
                </a:lnTo>
                <a:cubicBezTo>
                  <a:pt x="821861" y="62391"/>
                  <a:pt x="824746" y="90186"/>
                  <a:pt x="824746" y="118654"/>
                </a:cubicBezTo>
                <a:cubicBezTo>
                  <a:pt x="824746" y="346401"/>
                  <a:pt x="640120" y="531027"/>
                  <a:pt x="412373" y="531027"/>
                </a:cubicBezTo>
                <a:cubicBezTo>
                  <a:pt x="184626" y="531027"/>
                  <a:pt x="0" y="346401"/>
                  <a:pt x="0" y="118654"/>
                </a:cubicBezTo>
                <a:cubicBezTo>
                  <a:pt x="0" y="90186"/>
                  <a:pt x="2885" y="62391"/>
                  <a:pt x="8378" y="35547"/>
                </a:cubicBezTo>
                <a:lnTo>
                  <a:pt x="1941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Freeform 70">
            <a:extLst>
              <a:ext uri="{FF2B5EF4-FFF2-40B4-BE49-F238E27FC236}">
                <a16:creationId xmlns:a16="http://schemas.microsoft.com/office/drawing/2014/main" id="{BEC0AD81-72D6-9645-9E23-31041CDD931B}"/>
              </a:ext>
            </a:extLst>
          </p:cNvPr>
          <p:cNvSpPr/>
          <p:nvPr userDrawn="1"/>
        </p:nvSpPr>
        <p:spPr>
          <a:xfrm>
            <a:off x="0" y="3804845"/>
            <a:ext cx="863575" cy="1193322"/>
          </a:xfrm>
          <a:custGeom>
            <a:avLst/>
            <a:gdLst>
              <a:gd name="connsiteX0" fmla="*/ 266914 w 863575"/>
              <a:gd name="connsiteY0" fmla="*/ 0 h 1193322"/>
              <a:gd name="connsiteX1" fmla="*/ 863575 w 863575"/>
              <a:gd name="connsiteY1" fmla="*/ 596661 h 1193322"/>
              <a:gd name="connsiteX2" fmla="*/ 266914 w 863575"/>
              <a:gd name="connsiteY2" fmla="*/ 1193322 h 1193322"/>
              <a:gd name="connsiteX3" fmla="*/ 34667 w 863575"/>
              <a:gd name="connsiteY3" fmla="*/ 1146433 h 1193322"/>
              <a:gd name="connsiteX4" fmla="*/ 0 w 863575"/>
              <a:gd name="connsiteY4" fmla="*/ 1127617 h 1193322"/>
              <a:gd name="connsiteX5" fmla="*/ 0 w 863575"/>
              <a:gd name="connsiteY5" fmla="*/ 65705 h 1193322"/>
              <a:gd name="connsiteX6" fmla="*/ 34667 w 863575"/>
              <a:gd name="connsiteY6" fmla="*/ 46889 h 1193322"/>
              <a:gd name="connsiteX7" fmla="*/ 266914 w 863575"/>
              <a:gd name="connsiteY7" fmla="*/ 0 h 1193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3575" h="1193322">
                <a:moveTo>
                  <a:pt x="266914" y="0"/>
                </a:moveTo>
                <a:cubicBezTo>
                  <a:pt x="596441" y="0"/>
                  <a:pt x="863575" y="267134"/>
                  <a:pt x="863575" y="596661"/>
                </a:cubicBezTo>
                <a:cubicBezTo>
                  <a:pt x="863575" y="926188"/>
                  <a:pt x="596441" y="1193322"/>
                  <a:pt x="266914" y="1193322"/>
                </a:cubicBezTo>
                <a:cubicBezTo>
                  <a:pt x="184532" y="1193322"/>
                  <a:pt x="106050" y="1176626"/>
                  <a:pt x="34667" y="1146433"/>
                </a:cubicBezTo>
                <a:lnTo>
                  <a:pt x="0" y="1127617"/>
                </a:lnTo>
                <a:lnTo>
                  <a:pt x="0" y="65705"/>
                </a:lnTo>
                <a:lnTo>
                  <a:pt x="34667" y="46889"/>
                </a:lnTo>
                <a:cubicBezTo>
                  <a:pt x="106050" y="16696"/>
                  <a:pt x="184532" y="0"/>
                  <a:pt x="26691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Freeform 69">
            <a:extLst>
              <a:ext uri="{FF2B5EF4-FFF2-40B4-BE49-F238E27FC236}">
                <a16:creationId xmlns:a16="http://schemas.microsoft.com/office/drawing/2014/main" id="{CAF7B0BD-A0FB-4140-9BE6-8B9CD5E17013}"/>
              </a:ext>
            </a:extLst>
          </p:cNvPr>
          <p:cNvSpPr/>
          <p:nvPr userDrawn="1"/>
        </p:nvSpPr>
        <p:spPr>
          <a:xfrm>
            <a:off x="7235915" y="5695602"/>
            <a:ext cx="1432560" cy="1162398"/>
          </a:xfrm>
          <a:custGeom>
            <a:avLst/>
            <a:gdLst>
              <a:gd name="connsiteX0" fmla="*/ 716280 w 1432560"/>
              <a:gd name="connsiteY0" fmla="*/ 0 h 1162398"/>
              <a:gd name="connsiteX1" fmla="*/ 1432560 w 1432560"/>
              <a:gd name="connsiteY1" fmla="*/ 716280 h 1162398"/>
              <a:gd name="connsiteX2" fmla="*/ 1310231 w 1432560"/>
              <a:gd name="connsiteY2" fmla="*/ 1116759 h 1162398"/>
              <a:gd name="connsiteX3" fmla="*/ 1272576 w 1432560"/>
              <a:gd name="connsiteY3" fmla="*/ 1162398 h 1162398"/>
              <a:gd name="connsiteX4" fmla="*/ 159985 w 1432560"/>
              <a:gd name="connsiteY4" fmla="*/ 1162398 h 1162398"/>
              <a:gd name="connsiteX5" fmla="*/ 122329 w 1432560"/>
              <a:gd name="connsiteY5" fmla="*/ 1116759 h 1162398"/>
              <a:gd name="connsiteX6" fmla="*/ 0 w 1432560"/>
              <a:gd name="connsiteY6" fmla="*/ 716280 h 1162398"/>
              <a:gd name="connsiteX7" fmla="*/ 716280 w 1432560"/>
              <a:gd name="connsiteY7" fmla="*/ 0 h 116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32560" h="1162398">
                <a:moveTo>
                  <a:pt x="716280" y="0"/>
                </a:moveTo>
                <a:cubicBezTo>
                  <a:pt x="1111871" y="0"/>
                  <a:pt x="1432560" y="320689"/>
                  <a:pt x="1432560" y="716280"/>
                </a:cubicBezTo>
                <a:cubicBezTo>
                  <a:pt x="1432560" y="864627"/>
                  <a:pt x="1387463" y="1002440"/>
                  <a:pt x="1310231" y="1116759"/>
                </a:cubicBezTo>
                <a:lnTo>
                  <a:pt x="1272576" y="1162398"/>
                </a:lnTo>
                <a:lnTo>
                  <a:pt x="159985" y="1162398"/>
                </a:lnTo>
                <a:lnTo>
                  <a:pt x="122329" y="1116759"/>
                </a:lnTo>
                <a:cubicBezTo>
                  <a:pt x="45097" y="1002440"/>
                  <a:pt x="0" y="864627"/>
                  <a:pt x="0" y="716280"/>
                </a:cubicBezTo>
                <a:cubicBezTo>
                  <a:pt x="0" y="320689"/>
                  <a:pt x="320689" y="0"/>
                  <a:pt x="71628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B42D3D1-8FA9-CC47-BC04-41214F90B475}"/>
              </a:ext>
            </a:extLst>
          </p:cNvPr>
          <p:cNvSpPr/>
          <p:nvPr userDrawn="1"/>
        </p:nvSpPr>
        <p:spPr>
          <a:xfrm>
            <a:off x="6746894" y="5559914"/>
            <a:ext cx="829636" cy="82963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F761C15-8FC1-6E4C-B034-94E0974F76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00938" y="535056"/>
            <a:ext cx="4211637" cy="591762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D9CD1FB-6EC5-D440-9991-E43C7B11EB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938" y="1437774"/>
            <a:ext cx="4211637" cy="2508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F72912-A427-9D40-B45B-43A5D081F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9107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Circle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DE5D2CCE-BCA0-2D4C-8C20-7E02953B2E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5FC54B-79EC-934B-8981-5D2F5D0B4326}"/>
              </a:ext>
            </a:extLst>
          </p:cNvPr>
          <p:cNvSpPr/>
          <p:nvPr userDrawn="1"/>
        </p:nvSpPr>
        <p:spPr>
          <a:xfrm>
            <a:off x="5229546" y="1"/>
            <a:ext cx="696245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DF52559-D841-984A-B464-2231D9B530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312440" y="3087356"/>
            <a:ext cx="638826" cy="638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3D7C12A-CC6D-AA4E-B383-96CB1D907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03333" y="4434925"/>
            <a:ext cx="2410273" cy="2410273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8EC72D7-78A1-5F45-8917-6EC8A97367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33700" y="5051147"/>
            <a:ext cx="1272165" cy="127216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C0DCA3B-D44C-C24E-922E-0ED28F1C14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37887" y="5809334"/>
            <a:ext cx="1048666" cy="1048666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4EA5378-263A-364B-B742-A66ED86607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9036" y="6076832"/>
            <a:ext cx="757372" cy="757372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4FBBE8BF-202B-5046-A4D6-70440B95BC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87271" y="6452755"/>
            <a:ext cx="405245" cy="405245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E3D2F741-0277-4449-9398-B3AD3A0143D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76561" y="6222815"/>
            <a:ext cx="622384" cy="622384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86952430-C913-074E-91AE-98E54E5495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86656" y="5731954"/>
            <a:ext cx="327592" cy="327592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CD919F07-2000-584A-B7BE-86F19DB898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79401" y="6506958"/>
            <a:ext cx="351042" cy="351042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406625E-1771-4E45-B7F1-350C8B8A6C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781402" y="6452755"/>
            <a:ext cx="402835" cy="402835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FC0AF7-F992-F942-A706-9B2BBBFC23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60" y="2897227"/>
            <a:ext cx="4211003" cy="22691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0BD227-1F36-BB4B-9700-2D9BD36D4EA2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433623" y="6356350"/>
            <a:ext cx="325744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23BF27C-1D09-3548-9B65-0C645C241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1427806"/>
            <a:ext cx="4211002" cy="12742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520025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44E8B5C-3777-1544-AA2F-7F42232878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0008FA5-52EB-8B4D-9F52-9505AE1ED5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312440" y="3087356"/>
            <a:ext cx="638826" cy="638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40E0290-6B61-DE4C-88F9-A6EFFA40DE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997" y="1508845"/>
            <a:ext cx="2750763" cy="2750763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89AE4946-F189-B745-AAA7-736C898E3D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43156" y="881161"/>
            <a:ext cx="702917" cy="702917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220298-CF6D-1246-98BC-4407753C86E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433623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113C47AD-A207-9144-BC0D-386823499F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09304" y="2367280"/>
            <a:ext cx="927222" cy="927222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1B42D1CC-329D-C249-84D4-9D1FD78A2FD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09304" y="3954770"/>
            <a:ext cx="304838" cy="304838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E5D6CBCA-7E87-D34F-9A01-02F94DC7AB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007602" y="1419153"/>
            <a:ext cx="463038" cy="463038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D36935BB-98FA-2F4E-9C6F-557485AAB6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54313" y="1304734"/>
            <a:ext cx="2116327" cy="2116327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E69A43C0-753A-704E-B26F-A9BD82CA95B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040305" y="5562406"/>
            <a:ext cx="465135" cy="465135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246794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E88FFC51-796A-5B43-A464-E87FA3C00B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22948" y="2127919"/>
            <a:ext cx="3414185" cy="3412122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4E4ED037-2456-1E4B-BD6E-D1006B93AF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83936" y="4626844"/>
            <a:ext cx="1110280" cy="111028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F94E7580-A9C7-0E4A-B2D8-B0A526ACCF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22887" y="2270197"/>
            <a:ext cx="829630" cy="82963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B22186BE-2730-D04E-B409-DBB414DFD1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5864" y="3985142"/>
            <a:ext cx="514891" cy="514891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CAA9D3-7DF8-264E-B853-BD50D6C61DE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59BA5CD-B5B9-D84A-ADAE-B0B3E427C0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3F7E159-BC96-3547-AFF1-F8468B01EF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43873"/>
            <a:ext cx="4339710" cy="2764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628171E-12F2-4F4C-AFC5-632A994A0F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433971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4B3316-0CE4-0F49-B6F4-A7BCAC18A0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2009486"/>
            <a:ext cx="4339710" cy="379835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4A5BE1-D4DC-3B4C-8A99-EBBB639B1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3250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7507896-C635-6D43-A2C5-BE64057C20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201469"/>
            <a:ext cx="9829801" cy="2764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F045BBF-7A50-DE49-9425-70410AE9B6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9425" y="2153704"/>
            <a:ext cx="9829800" cy="4924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F7AAE2C-5A7B-2D40-9EA3-D9D071D7E3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4" y="4601450"/>
            <a:ext cx="9829801" cy="1347881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8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D782C31-6F13-2C40-BBCC-AEF1878EC1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A16146E-7816-A746-832C-1C0233461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049915"/>
            <a:ext cx="9829165" cy="9317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136202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35108-3828-0E4E-9EFE-E1EB6E6201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7134F-D4AF-6D4A-931B-A397F1EF00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E178BA0-74D9-FD48-AB42-E6EB5A84C812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240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4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78EC9B8-7C99-5047-B82A-BF2D8FFD8B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23622" y="2035361"/>
            <a:ext cx="2872685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19C5314-20A3-3B46-8ED6-28E1039244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00742" y="2034622"/>
            <a:ext cx="3011833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CD2BAA-9E21-E049-A72F-FE45149647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3686D9E1-3896-FA49-91DB-FF649E03F2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19424" y="3952193"/>
            <a:ext cx="2872685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114A2B8D-3FE8-5247-8638-3515EB1B28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96544" y="3952193"/>
            <a:ext cx="3011833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D1403B1-EDE8-7F4B-9F0C-69004E214A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10151"/>
            <a:ext cx="4211639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GB"/>
              <a:t>Click to add your bottom text he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E3C2FE0-6A3A-F442-8AEF-5DD1230250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BBD8300-8122-0D4E-8FE9-301AB1E301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1374710"/>
            <a:ext cx="4211638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C2231B3-8EEF-E046-84B8-376CCDE7313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6" y="2009194"/>
            <a:ext cx="4211638" cy="3769894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EAC6A9-FE80-A149-A718-05B9B6651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153390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F1DB288-0772-574D-B40E-CFF3ACA641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A31847-2AF0-294D-B916-4692771CFC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5F57E24-57E5-C046-B836-FC92453958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9DA518-22DE-1A47-8F2F-A5D76F5086E3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114848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n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79E6D0E7-7A46-BC45-AA8C-B241A6C2D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845556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273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41900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5647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64749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664749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94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273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41901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7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664750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83659E5-8EF4-8A45-9F24-1B4AE93498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4A39888-A38A-C748-9494-521D2E8B35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FBACED0-7913-D64A-A95E-D46CAD95732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75509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ed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273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3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4190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5647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7105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7105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273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4190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5647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7105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41B1A03-019A-AB4A-A0D2-E5A27CD2D1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FDF115AB-6674-FE4C-8735-47E1C203E8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58BE716E-539C-3A49-AEFA-0606608D47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7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F7CBBA4-A7DA-E941-A979-7B0AAA4FF14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948520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vender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393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33125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US"/>
              <a:t>Add text her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D8DFA49-2F7F-3147-A304-69EC5D2A9A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393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7C54CED5-E8F1-7841-8778-508807AF64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3125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4C8D1FE9-FB73-AF46-AAC5-03D14CA633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797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294B6308-4BF3-9847-90BE-7D7CEC8F8D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41529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2D7F37E7-230C-C343-BECB-55734AB64D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4393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B750913-C610-614F-B3AE-2EC44290C9C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3125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B2810B0-F8DF-C146-A3ED-405350DA59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90766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75A2CE6-DFAB-104F-9EEB-DBA0FF408B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9498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A584C9B6-C26B-A848-ACD2-1B31A8567E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90766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6E544971-B467-9346-9A5D-6119AB4F97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49498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EB306962-4E1D-454C-A6B4-5A4FCAD3FC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99170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E659289A-B6B9-1B4E-992C-80723AC36E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7902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2207093D-0AE3-7F47-AC12-1D4621F1E5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90766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75073AEF-5740-F747-B799-3C860882B18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49498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735D8FBE-F524-444D-892F-3044BEE47B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23912" y="2597609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9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8C534923-7194-134A-978E-71F06EEE325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54689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F38C1893-B569-DE47-8A0D-79D27EF86E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23912" y="3398688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AE06F02B-5BB9-AB4B-8831-5B12A24D21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54689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D4D8E94-E835-744D-892D-71E3C45797D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316" y="4199767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1</a:t>
            </a:r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8C948CB6-AFFE-A642-92FD-ED3E26D0573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63093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39534580-C69D-0042-9F3E-223DC45652C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23912" y="5000846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2</a:t>
            </a:r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7C407BF4-2959-814E-BF1B-D2DAB1362E3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54689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1D013E5-6D28-CE47-8FB2-748BCB1B4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51" name="Title 1">
            <a:extLst>
              <a:ext uri="{FF2B5EF4-FFF2-40B4-BE49-F238E27FC236}">
                <a16:creationId xmlns:a16="http://schemas.microsoft.com/office/drawing/2014/main" id="{67BBA32E-1282-0341-8963-47C131CE83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385658"/>
            <a:ext cx="9067266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F5F6A6BA-52FD-7948-A13F-09B9B845C0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8"/>
            <a:ext cx="9067265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27DC7C-34A0-064D-A088-5F14E9C8A6D5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717752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35108-3828-0E4E-9EFE-E1EB6E6201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7134F-D4AF-6D4A-931B-A397F1EF00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E178BA0-74D9-FD48-AB42-E6EB5A84C812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031800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F1DB288-0772-574D-B40E-CFF3ACA641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A31847-2AF0-294D-B916-4692771CFC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5F57E24-57E5-C046-B836-FC92453958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9DA518-22DE-1A47-8F2F-A5D76F5086E3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892544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n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79E6D0E7-7A46-BC45-AA8C-B241A6C2D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845556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273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41900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5647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64749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664749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94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273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41901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7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664750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83659E5-8EF4-8A45-9F24-1B4AE93498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4A39888-A38A-C748-9494-521D2E8B35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FBACED0-7913-D64A-A95E-D46CAD95732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21061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ed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273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3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4190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5647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7105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7105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273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4190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5647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7105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41B1A03-019A-AB4A-A0D2-E5A27CD2D1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FDF115AB-6674-FE4C-8735-47E1C203E8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58BE716E-539C-3A49-AEFA-0606608D47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7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F7CBBA4-A7DA-E941-A979-7B0AAA4FF14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187945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vender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393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33125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US"/>
              <a:t>Add text her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D8DFA49-2F7F-3147-A304-69EC5D2A9A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393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7C54CED5-E8F1-7841-8778-508807AF64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3125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4C8D1FE9-FB73-AF46-AAC5-03D14CA633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797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294B6308-4BF3-9847-90BE-7D7CEC8F8D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41529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2D7F37E7-230C-C343-BECB-55734AB64D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4393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B750913-C610-614F-B3AE-2EC44290C9C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3125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B2810B0-F8DF-C146-A3ED-405350DA59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90766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75A2CE6-DFAB-104F-9EEB-DBA0FF408B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9498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A584C9B6-C26B-A848-ACD2-1B31A8567E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90766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6E544971-B467-9346-9A5D-6119AB4F97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49498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EB306962-4E1D-454C-A6B4-5A4FCAD3FC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99170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E659289A-B6B9-1B4E-992C-80723AC36E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7902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2207093D-0AE3-7F47-AC12-1D4621F1E5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90766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75073AEF-5740-F747-B799-3C860882B18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49498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735D8FBE-F524-444D-892F-3044BEE47B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23912" y="2597609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9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8C534923-7194-134A-978E-71F06EEE325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54689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F38C1893-B569-DE47-8A0D-79D27EF86E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23912" y="3398688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AE06F02B-5BB9-AB4B-8831-5B12A24D21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54689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D4D8E94-E835-744D-892D-71E3C45797D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316" y="4199767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1</a:t>
            </a:r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8C948CB6-AFFE-A642-92FD-ED3E26D0573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63093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39534580-C69D-0042-9F3E-223DC45652C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23912" y="5000846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2</a:t>
            </a:r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7C407BF4-2959-814E-BF1B-D2DAB1362E3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54689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1D013E5-6D28-CE47-8FB2-748BCB1B4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51" name="Title 1">
            <a:extLst>
              <a:ext uri="{FF2B5EF4-FFF2-40B4-BE49-F238E27FC236}">
                <a16:creationId xmlns:a16="http://schemas.microsoft.com/office/drawing/2014/main" id="{67BBA32E-1282-0341-8963-47C131CE83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385658"/>
            <a:ext cx="9067266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F5F6A6BA-52FD-7948-A13F-09B9B845C0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8"/>
            <a:ext cx="9067265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27DC7C-34A0-064D-A088-5F14E9C8A6D5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61977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Left Low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0B342D6-3CB8-6C40-89C8-5D76867960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272" y="5809498"/>
            <a:ext cx="1874100" cy="451858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1A1C20FC-E659-764D-8C47-CDEA675674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2752197"/>
            <a:ext cx="9829800" cy="16056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create a title header line of text</a:t>
            </a:r>
            <a:endParaRPr lang="en-GB"/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8968C275-1FDB-1E43-B529-48F39D22E9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4496637"/>
            <a:ext cx="9829800" cy="87338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create a subtitle of tex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3FBAA8-D503-400F-86F7-386F052EFD2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02610" y="6389574"/>
            <a:ext cx="504762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1834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6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CD2BAA-9E21-E049-A72F-FE45149647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792D8C06-1A96-844E-B531-3D8B8F8BA4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5910151"/>
            <a:ext cx="2574023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E1176CE-07AF-2B4C-A415-A7679B5FCB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94C601F-D030-884D-A224-5982680C31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1374710"/>
            <a:ext cx="2574021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ADED31E-6CFA-9D45-A21B-FCE3ECDD98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6" y="2009194"/>
            <a:ext cx="2574021" cy="3769894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80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9CF575-2394-1348-A2D5-DA34A4B95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3A37DF41-C4DD-654E-9CCA-AF31A2CE681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6597" y="2035361"/>
            <a:ext cx="2448491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78B3CB60-55FD-054A-829E-5CB2B8B3F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5483" y="2034622"/>
            <a:ext cx="2567092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F3047F3A-DB52-A544-B0E3-4AA1F07E468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92399" y="3952193"/>
            <a:ext cx="2448491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2CB96240-AF00-9843-94BD-1A0EA155FAB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41285" y="3952193"/>
            <a:ext cx="2567092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35" name="Picture Placeholder 5">
            <a:extLst>
              <a:ext uri="{FF2B5EF4-FFF2-40B4-BE49-F238E27FC236}">
                <a16:creationId xmlns:a16="http://schemas.microsoft.com/office/drawing/2014/main" id="{8804653C-C5B3-A64C-9C49-8B7A0E7C646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11613" y="2034622"/>
            <a:ext cx="2448491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20A793A6-CB8C-3A4E-BE97-5A333357979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607415" y="3951454"/>
            <a:ext cx="2448491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968365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55535-A48F-4DF5-B19B-83644393C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BBCB94-04B1-49FC-A964-355A7D6B24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0462BA-9F3C-41A0-8296-11319DC9F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is is the footer</a:t>
            </a:r>
          </a:p>
        </p:txBody>
      </p:sp>
    </p:spTree>
    <p:extLst>
      <p:ext uri="{BB962C8B-B14F-4D97-AF65-F5344CB8AC3E}">
        <p14:creationId xmlns:p14="http://schemas.microsoft.com/office/powerpoint/2010/main" val="163610965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1 Column Text_No Bulle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is is the foot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4C9C8E-83E9-8444-9AFF-C1149E5CA4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E5CDAC5-37EC-CA42-A9C7-AE17165145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808585"/>
            <a:ext cx="8424863" cy="4357265"/>
          </a:xfrm>
          <a:prstGeom prst="rect">
            <a:avLst/>
          </a:prstGeom>
        </p:spPr>
        <p:txBody>
          <a:bodyPr numCol="1" spcCol="360000"/>
          <a:lstStyle>
            <a:lvl1pPr marL="0" indent="0">
              <a:spcAft>
                <a:spcPts val="600"/>
              </a:spcAft>
              <a:buNone/>
              <a:defRPr/>
            </a:lvl1pPr>
            <a:lvl2pPr marL="457200" indent="0">
              <a:spcAft>
                <a:spcPts val="600"/>
              </a:spcAft>
              <a:buNone/>
              <a:defRPr/>
            </a:lvl2pPr>
            <a:lvl3pPr marL="914400" indent="0">
              <a:spcAft>
                <a:spcPts val="600"/>
              </a:spcAft>
              <a:buNone/>
              <a:defRPr/>
            </a:lvl3pPr>
            <a:lvl4pPr marL="1371600" indent="0">
              <a:spcAft>
                <a:spcPts val="600"/>
              </a:spcAft>
              <a:buNone/>
              <a:defRPr/>
            </a:lvl4pPr>
            <a:lvl5pPr marL="1828800" indent="0">
              <a:spcAft>
                <a:spcPts val="6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0CB76-40C1-244A-8AFC-F6AD31B8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471292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dividers_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C2665A5-DCD0-FA45-B1F7-C197111F4B94}"/>
              </a:ext>
            </a:extLst>
          </p:cNvPr>
          <p:cNvGrpSpPr/>
          <p:nvPr userDrawn="1"/>
        </p:nvGrpSpPr>
        <p:grpSpPr>
          <a:xfrm>
            <a:off x="0" y="1"/>
            <a:ext cx="12192000" cy="6857999"/>
            <a:chOff x="0" y="1"/>
            <a:chExt cx="12192000" cy="685799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A046575-1317-E540-95C3-89C5554BB1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412" b="5698"/>
            <a:stretch/>
          </p:blipFill>
          <p:spPr>
            <a:xfrm rot="10800000">
              <a:off x="0" y="1"/>
              <a:ext cx="12192000" cy="6857999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008490-9741-5947-8D15-1A5C66A3814E}"/>
                </a:ext>
              </a:extLst>
            </p:cNvPr>
            <p:cNvSpPr/>
            <p:nvPr userDrawn="1"/>
          </p:nvSpPr>
          <p:spPr>
            <a:xfrm>
              <a:off x="2012623" y="2799761"/>
              <a:ext cx="2318993" cy="1225484"/>
            </a:xfrm>
            <a:prstGeom prst="rect">
              <a:avLst/>
            </a:prstGeom>
            <a:solidFill>
              <a:srgbClr val="3327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020A9645-8263-484B-84B8-76F33FE321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60322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_Left Curved Content_Lavender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3699833-04A4-814C-B0D2-D70A338750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17489" y="0"/>
            <a:ext cx="5174512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031CC84-A580-2842-B0FE-651EC3A1C09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3527" y="0"/>
            <a:ext cx="8394099" cy="6858000"/>
          </a:xfrm>
          <a:custGeom>
            <a:avLst/>
            <a:gdLst>
              <a:gd name="connsiteX0" fmla="*/ 0 w 8394099"/>
              <a:gd name="connsiteY0" fmla="*/ 0 h 6858000"/>
              <a:gd name="connsiteX1" fmla="*/ 7210115 w 8394099"/>
              <a:gd name="connsiteY1" fmla="*/ 0 h 6858000"/>
              <a:gd name="connsiteX2" fmla="*/ 7288769 w 8394099"/>
              <a:gd name="connsiteY2" fmla="*/ 100089 h 6858000"/>
              <a:gd name="connsiteX3" fmla="*/ 8394099 w 8394099"/>
              <a:gd name="connsiteY3" fmla="*/ 3428999 h 6858000"/>
              <a:gd name="connsiteX4" fmla="*/ 7288769 w 8394099"/>
              <a:gd name="connsiteY4" fmla="*/ 6757910 h 6858000"/>
              <a:gd name="connsiteX5" fmla="*/ 7210114 w 8394099"/>
              <a:gd name="connsiteY5" fmla="*/ 6858000 h 6858000"/>
              <a:gd name="connsiteX6" fmla="*/ 0 w 839409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94099" h="6858000">
                <a:moveTo>
                  <a:pt x="0" y="0"/>
                </a:moveTo>
                <a:lnTo>
                  <a:pt x="7210115" y="0"/>
                </a:lnTo>
                <a:lnTo>
                  <a:pt x="7288769" y="100089"/>
                </a:lnTo>
                <a:cubicBezTo>
                  <a:pt x="7982987" y="1028368"/>
                  <a:pt x="8394099" y="2180674"/>
                  <a:pt x="8394099" y="3428999"/>
                </a:cubicBezTo>
                <a:cubicBezTo>
                  <a:pt x="8394099" y="4677325"/>
                  <a:pt x="7982987" y="5829631"/>
                  <a:pt x="7288769" y="6757910"/>
                </a:cubicBezTo>
                <a:lnTo>
                  <a:pt x="721011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570"/>
            <a:ext cx="6401866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add your bottom text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80024"/>
            <a:ext cx="6401866" cy="276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A6B4A6-AE8F-C947-A5E6-2B1A2CBCFC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800" y="1993249"/>
            <a:ext cx="6399795" cy="3689779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A1FCB-B589-B648-A957-126AD7A1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6398495" cy="10095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293421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_Left Curved Content_Nav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3699833-04A4-814C-B0D2-D70A338750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17489" y="0"/>
            <a:ext cx="5174512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031CC84-A580-2842-B0FE-651EC3A1C09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3527" y="0"/>
            <a:ext cx="8394099" cy="6858000"/>
          </a:xfrm>
          <a:custGeom>
            <a:avLst/>
            <a:gdLst>
              <a:gd name="connsiteX0" fmla="*/ 0 w 8394099"/>
              <a:gd name="connsiteY0" fmla="*/ 0 h 6858000"/>
              <a:gd name="connsiteX1" fmla="*/ 7210115 w 8394099"/>
              <a:gd name="connsiteY1" fmla="*/ 0 h 6858000"/>
              <a:gd name="connsiteX2" fmla="*/ 7288769 w 8394099"/>
              <a:gd name="connsiteY2" fmla="*/ 100089 h 6858000"/>
              <a:gd name="connsiteX3" fmla="*/ 8394099 w 8394099"/>
              <a:gd name="connsiteY3" fmla="*/ 3428999 h 6858000"/>
              <a:gd name="connsiteX4" fmla="*/ 7288769 w 8394099"/>
              <a:gd name="connsiteY4" fmla="*/ 6757910 h 6858000"/>
              <a:gd name="connsiteX5" fmla="*/ 7210114 w 8394099"/>
              <a:gd name="connsiteY5" fmla="*/ 6858000 h 6858000"/>
              <a:gd name="connsiteX6" fmla="*/ 0 w 839409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94099" h="6858000">
                <a:moveTo>
                  <a:pt x="0" y="0"/>
                </a:moveTo>
                <a:lnTo>
                  <a:pt x="7210115" y="0"/>
                </a:lnTo>
                <a:lnTo>
                  <a:pt x="7288769" y="100089"/>
                </a:lnTo>
                <a:cubicBezTo>
                  <a:pt x="7982987" y="1028368"/>
                  <a:pt x="8394099" y="2180674"/>
                  <a:pt x="8394099" y="3428999"/>
                </a:cubicBezTo>
                <a:cubicBezTo>
                  <a:pt x="8394099" y="4677325"/>
                  <a:pt x="7982987" y="5829631"/>
                  <a:pt x="7288769" y="6757910"/>
                </a:cubicBezTo>
                <a:lnTo>
                  <a:pt x="721011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570"/>
            <a:ext cx="6401866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add your bottom text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80024"/>
            <a:ext cx="6401866" cy="276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A6B4A6-AE8F-C947-A5E6-2B1A2CBCFC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800" y="1993249"/>
            <a:ext cx="6399795" cy="3689779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A1FCB-B589-B648-A957-126AD7A1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6398495" cy="10095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55590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_Left Curved Content_Co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3699833-04A4-814C-B0D2-D70A338750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17489" y="0"/>
            <a:ext cx="5174512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031CC84-A580-2842-B0FE-651EC3A1C09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3527" y="0"/>
            <a:ext cx="8394099" cy="6858000"/>
          </a:xfrm>
          <a:custGeom>
            <a:avLst/>
            <a:gdLst>
              <a:gd name="connsiteX0" fmla="*/ 0 w 8394099"/>
              <a:gd name="connsiteY0" fmla="*/ 0 h 6858000"/>
              <a:gd name="connsiteX1" fmla="*/ 7210115 w 8394099"/>
              <a:gd name="connsiteY1" fmla="*/ 0 h 6858000"/>
              <a:gd name="connsiteX2" fmla="*/ 7288769 w 8394099"/>
              <a:gd name="connsiteY2" fmla="*/ 100089 h 6858000"/>
              <a:gd name="connsiteX3" fmla="*/ 8394099 w 8394099"/>
              <a:gd name="connsiteY3" fmla="*/ 3428999 h 6858000"/>
              <a:gd name="connsiteX4" fmla="*/ 7288769 w 8394099"/>
              <a:gd name="connsiteY4" fmla="*/ 6757910 h 6858000"/>
              <a:gd name="connsiteX5" fmla="*/ 7210114 w 8394099"/>
              <a:gd name="connsiteY5" fmla="*/ 6858000 h 6858000"/>
              <a:gd name="connsiteX6" fmla="*/ 0 w 839409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94099" h="6858000">
                <a:moveTo>
                  <a:pt x="0" y="0"/>
                </a:moveTo>
                <a:lnTo>
                  <a:pt x="7210115" y="0"/>
                </a:lnTo>
                <a:lnTo>
                  <a:pt x="7288769" y="100089"/>
                </a:lnTo>
                <a:cubicBezTo>
                  <a:pt x="7982987" y="1028368"/>
                  <a:pt x="8394099" y="2180674"/>
                  <a:pt x="8394099" y="3428999"/>
                </a:cubicBezTo>
                <a:cubicBezTo>
                  <a:pt x="8394099" y="4677325"/>
                  <a:pt x="7982987" y="5829631"/>
                  <a:pt x="7288769" y="6757910"/>
                </a:cubicBezTo>
                <a:lnTo>
                  <a:pt x="721011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570"/>
            <a:ext cx="6401866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add your bottom text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80024"/>
            <a:ext cx="6401866" cy="276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A6B4A6-AE8F-C947-A5E6-2B1A2CBCFC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800" y="1993249"/>
            <a:ext cx="6399795" cy="3689779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A1FCB-B589-B648-A957-126AD7A1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6398495" cy="10095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662731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_Left Curved Content_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3699833-04A4-814C-B0D2-D70A338750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17489" y="0"/>
            <a:ext cx="5174512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031CC84-A580-2842-B0FE-651EC3A1C09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13527" y="0"/>
            <a:ext cx="8394099" cy="6858000"/>
          </a:xfrm>
          <a:custGeom>
            <a:avLst/>
            <a:gdLst>
              <a:gd name="connsiteX0" fmla="*/ 0 w 8394099"/>
              <a:gd name="connsiteY0" fmla="*/ 0 h 6858000"/>
              <a:gd name="connsiteX1" fmla="*/ 7210115 w 8394099"/>
              <a:gd name="connsiteY1" fmla="*/ 0 h 6858000"/>
              <a:gd name="connsiteX2" fmla="*/ 7288769 w 8394099"/>
              <a:gd name="connsiteY2" fmla="*/ 100089 h 6858000"/>
              <a:gd name="connsiteX3" fmla="*/ 8394099 w 8394099"/>
              <a:gd name="connsiteY3" fmla="*/ 3428999 h 6858000"/>
              <a:gd name="connsiteX4" fmla="*/ 7288769 w 8394099"/>
              <a:gd name="connsiteY4" fmla="*/ 6757910 h 6858000"/>
              <a:gd name="connsiteX5" fmla="*/ 7210114 w 8394099"/>
              <a:gd name="connsiteY5" fmla="*/ 6858000 h 6858000"/>
              <a:gd name="connsiteX6" fmla="*/ 0 w 839409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94099" h="6858000">
                <a:moveTo>
                  <a:pt x="0" y="0"/>
                </a:moveTo>
                <a:lnTo>
                  <a:pt x="7210115" y="0"/>
                </a:lnTo>
                <a:lnTo>
                  <a:pt x="7288769" y="100089"/>
                </a:lnTo>
                <a:cubicBezTo>
                  <a:pt x="7982987" y="1028368"/>
                  <a:pt x="8394099" y="2180674"/>
                  <a:pt x="8394099" y="3428999"/>
                </a:cubicBezTo>
                <a:cubicBezTo>
                  <a:pt x="8394099" y="4677325"/>
                  <a:pt x="7982987" y="5829631"/>
                  <a:pt x="7288769" y="6757910"/>
                </a:cubicBezTo>
                <a:lnTo>
                  <a:pt x="721011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570"/>
            <a:ext cx="6401866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add your bottom text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80024"/>
            <a:ext cx="6401866" cy="276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A6B4A6-AE8F-C947-A5E6-2B1A2CBCFC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800" y="1993249"/>
            <a:ext cx="6399795" cy="3689779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A1FCB-B589-B648-A957-126AD7A1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6398495" cy="10095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499948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_Right Curved Content_Laven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6301974-6D33-B640-8544-4D7A4FEA3F0F}"/>
              </a:ext>
            </a:extLst>
          </p:cNvPr>
          <p:cNvSpPr/>
          <p:nvPr userDrawn="1"/>
        </p:nvSpPr>
        <p:spPr>
          <a:xfrm>
            <a:off x="0" y="-2"/>
            <a:ext cx="930302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21">
            <a:extLst>
              <a:ext uri="{FF2B5EF4-FFF2-40B4-BE49-F238E27FC236}">
                <a16:creationId xmlns:a16="http://schemas.microsoft.com/office/drawing/2014/main" id="{81E9AA89-765C-6E40-AA07-B1980D4E6F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97845" y="0"/>
            <a:ext cx="4905241" cy="6857999"/>
          </a:xfrm>
          <a:custGeom>
            <a:avLst/>
            <a:gdLst>
              <a:gd name="connsiteX0" fmla="*/ 1072138 w 4905241"/>
              <a:gd name="connsiteY0" fmla="*/ 0 h 6857999"/>
              <a:gd name="connsiteX1" fmla="*/ 4905241 w 4905241"/>
              <a:gd name="connsiteY1" fmla="*/ 0 h 6857999"/>
              <a:gd name="connsiteX2" fmla="*/ 4905241 w 4905241"/>
              <a:gd name="connsiteY2" fmla="*/ 6857999 h 6857999"/>
              <a:gd name="connsiteX3" fmla="*/ 1072139 w 4905241"/>
              <a:gd name="connsiteY3" fmla="*/ 6857999 h 6857999"/>
              <a:gd name="connsiteX4" fmla="*/ 1028796 w 4905241"/>
              <a:gd name="connsiteY4" fmla="*/ 6797049 h 6857999"/>
              <a:gd name="connsiteX5" fmla="*/ 0 w 4905241"/>
              <a:gd name="connsiteY5" fmla="*/ 3428999 h 6857999"/>
              <a:gd name="connsiteX6" fmla="*/ 1028796 w 4905241"/>
              <a:gd name="connsiteY6" fmla="*/ 6094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5241" h="6857999">
                <a:moveTo>
                  <a:pt x="1072138" y="0"/>
                </a:moveTo>
                <a:lnTo>
                  <a:pt x="4905241" y="0"/>
                </a:lnTo>
                <a:lnTo>
                  <a:pt x="4905241" y="6857999"/>
                </a:lnTo>
                <a:lnTo>
                  <a:pt x="1072139" y="6857999"/>
                </a:lnTo>
                <a:lnTo>
                  <a:pt x="1028796" y="6797049"/>
                </a:lnTo>
                <a:cubicBezTo>
                  <a:pt x="379267" y="5835620"/>
                  <a:pt x="0" y="4676601"/>
                  <a:pt x="0" y="3428999"/>
                </a:cubicBezTo>
                <a:cubicBezTo>
                  <a:pt x="0" y="2181398"/>
                  <a:pt x="379267" y="1022379"/>
                  <a:pt x="1028796" y="609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570"/>
            <a:ext cx="6278258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add your bottom text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80024"/>
            <a:ext cx="6278258" cy="276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A6B4A6-AE8F-C947-A5E6-2B1A2CBCFC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800" y="1993249"/>
            <a:ext cx="6276227" cy="3689779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A1FCB-B589-B648-A957-126AD7A1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365125"/>
            <a:ext cx="6274952" cy="10095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375612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_Right Curved Content_Nav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6301974-6D33-B640-8544-4D7A4FEA3F0F}"/>
              </a:ext>
            </a:extLst>
          </p:cNvPr>
          <p:cNvSpPr/>
          <p:nvPr userDrawn="1"/>
        </p:nvSpPr>
        <p:spPr>
          <a:xfrm>
            <a:off x="0" y="-2"/>
            <a:ext cx="930302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21">
            <a:extLst>
              <a:ext uri="{FF2B5EF4-FFF2-40B4-BE49-F238E27FC236}">
                <a16:creationId xmlns:a16="http://schemas.microsoft.com/office/drawing/2014/main" id="{81E9AA89-765C-6E40-AA07-B1980D4E6F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97845" y="0"/>
            <a:ext cx="4905241" cy="6857999"/>
          </a:xfrm>
          <a:custGeom>
            <a:avLst/>
            <a:gdLst>
              <a:gd name="connsiteX0" fmla="*/ 1072138 w 4905241"/>
              <a:gd name="connsiteY0" fmla="*/ 0 h 6857999"/>
              <a:gd name="connsiteX1" fmla="*/ 4905241 w 4905241"/>
              <a:gd name="connsiteY1" fmla="*/ 0 h 6857999"/>
              <a:gd name="connsiteX2" fmla="*/ 4905241 w 4905241"/>
              <a:gd name="connsiteY2" fmla="*/ 6857999 h 6857999"/>
              <a:gd name="connsiteX3" fmla="*/ 1072139 w 4905241"/>
              <a:gd name="connsiteY3" fmla="*/ 6857999 h 6857999"/>
              <a:gd name="connsiteX4" fmla="*/ 1028796 w 4905241"/>
              <a:gd name="connsiteY4" fmla="*/ 6797049 h 6857999"/>
              <a:gd name="connsiteX5" fmla="*/ 0 w 4905241"/>
              <a:gd name="connsiteY5" fmla="*/ 3428999 h 6857999"/>
              <a:gd name="connsiteX6" fmla="*/ 1028796 w 4905241"/>
              <a:gd name="connsiteY6" fmla="*/ 6094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5241" h="6857999">
                <a:moveTo>
                  <a:pt x="1072138" y="0"/>
                </a:moveTo>
                <a:lnTo>
                  <a:pt x="4905241" y="0"/>
                </a:lnTo>
                <a:lnTo>
                  <a:pt x="4905241" y="6857999"/>
                </a:lnTo>
                <a:lnTo>
                  <a:pt x="1072139" y="6857999"/>
                </a:lnTo>
                <a:lnTo>
                  <a:pt x="1028796" y="6797049"/>
                </a:lnTo>
                <a:cubicBezTo>
                  <a:pt x="379267" y="5835620"/>
                  <a:pt x="0" y="4676601"/>
                  <a:pt x="0" y="3428999"/>
                </a:cubicBezTo>
                <a:cubicBezTo>
                  <a:pt x="0" y="2181398"/>
                  <a:pt x="379267" y="1022379"/>
                  <a:pt x="1028796" y="609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570"/>
            <a:ext cx="6278258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add your bottom text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80024"/>
            <a:ext cx="6278258" cy="276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A6B4A6-AE8F-C947-A5E6-2B1A2CBCFC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800" y="1993249"/>
            <a:ext cx="6276227" cy="3689779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A1FCB-B589-B648-A957-126AD7A1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365125"/>
            <a:ext cx="6274952" cy="10095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363538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_Right Curved Content_Co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6301974-6D33-B640-8544-4D7A4FEA3F0F}"/>
              </a:ext>
            </a:extLst>
          </p:cNvPr>
          <p:cNvSpPr/>
          <p:nvPr userDrawn="1"/>
        </p:nvSpPr>
        <p:spPr>
          <a:xfrm>
            <a:off x="0" y="-2"/>
            <a:ext cx="930302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21">
            <a:extLst>
              <a:ext uri="{FF2B5EF4-FFF2-40B4-BE49-F238E27FC236}">
                <a16:creationId xmlns:a16="http://schemas.microsoft.com/office/drawing/2014/main" id="{81E9AA89-765C-6E40-AA07-B1980D4E6F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97845" y="0"/>
            <a:ext cx="4905241" cy="6857999"/>
          </a:xfrm>
          <a:custGeom>
            <a:avLst/>
            <a:gdLst>
              <a:gd name="connsiteX0" fmla="*/ 1072138 w 4905241"/>
              <a:gd name="connsiteY0" fmla="*/ 0 h 6857999"/>
              <a:gd name="connsiteX1" fmla="*/ 4905241 w 4905241"/>
              <a:gd name="connsiteY1" fmla="*/ 0 h 6857999"/>
              <a:gd name="connsiteX2" fmla="*/ 4905241 w 4905241"/>
              <a:gd name="connsiteY2" fmla="*/ 6857999 h 6857999"/>
              <a:gd name="connsiteX3" fmla="*/ 1072139 w 4905241"/>
              <a:gd name="connsiteY3" fmla="*/ 6857999 h 6857999"/>
              <a:gd name="connsiteX4" fmla="*/ 1028796 w 4905241"/>
              <a:gd name="connsiteY4" fmla="*/ 6797049 h 6857999"/>
              <a:gd name="connsiteX5" fmla="*/ 0 w 4905241"/>
              <a:gd name="connsiteY5" fmla="*/ 3428999 h 6857999"/>
              <a:gd name="connsiteX6" fmla="*/ 1028796 w 4905241"/>
              <a:gd name="connsiteY6" fmla="*/ 6094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5241" h="6857999">
                <a:moveTo>
                  <a:pt x="1072138" y="0"/>
                </a:moveTo>
                <a:lnTo>
                  <a:pt x="4905241" y="0"/>
                </a:lnTo>
                <a:lnTo>
                  <a:pt x="4905241" y="6857999"/>
                </a:lnTo>
                <a:lnTo>
                  <a:pt x="1072139" y="6857999"/>
                </a:lnTo>
                <a:lnTo>
                  <a:pt x="1028796" y="6797049"/>
                </a:lnTo>
                <a:cubicBezTo>
                  <a:pt x="379267" y="5835620"/>
                  <a:pt x="0" y="4676601"/>
                  <a:pt x="0" y="3428999"/>
                </a:cubicBezTo>
                <a:cubicBezTo>
                  <a:pt x="0" y="2181398"/>
                  <a:pt x="379267" y="1022379"/>
                  <a:pt x="1028796" y="609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570"/>
            <a:ext cx="6278258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add your bottom text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80024"/>
            <a:ext cx="6278258" cy="276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A6B4A6-AE8F-C947-A5E6-2B1A2CBCFC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800" y="1993249"/>
            <a:ext cx="6276227" cy="3689779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A1FCB-B589-B648-A957-126AD7A1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365125"/>
            <a:ext cx="6274952" cy="10095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034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8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CD2BAA-9E21-E049-A72F-FE45149647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0030207-B136-4C40-928E-FB2D42F316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51995"/>
            <a:ext cx="8333372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GB"/>
              <a:t>Click to add your bottom text her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B4AD4BB-739E-E64C-BD6B-B3F3A72D7E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E36D7FB-73D5-0E47-B5D4-122AEEED48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1374710"/>
            <a:ext cx="2808287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7" name="Picture Placeholder 5">
            <a:extLst>
              <a:ext uri="{FF2B5EF4-FFF2-40B4-BE49-F238E27FC236}">
                <a16:creationId xmlns:a16="http://schemas.microsoft.com/office/drawing/2014/main" id="{4439291D-711B-CF43-8ACD-13EA0A34D0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256797" y="2034622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48" name="Picture Placeholder 5">
            <a:extLst>
              <a:ext uri="{FF2B5EF4-FFF2-40B4-BE49-F238E27FC236}">
                <a16:creationId xmlns:a16="http://schemas.microsoft.com/office/drawing/2014/main" id="{9E6F2DE9-063C-BA41-9496-CD18BFAB2B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5483" y="2034622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49" name="Picture Placeholder 5">
            <a:extLst>
              <a:ext uri="{FF2B5EF4-FFF2-40B4-BE49-F238E27FC236}">
                <a16:creationId xmlns:a16="http://schemas.microsoft.com/office/drawing/2014/main" id="{4D07B36A-F483-AE4B-8336-972A5C492D61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368111" y="2034622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50" name="Picture Placeholder 5">
            <a:extLst>
              <a:ext uri="{FF2B5EF4-FFF2-40B4-BE49-F238E27FC236}">
                <a16:creationId xmlns:a16="http://schemas.microsoft.com/office/drawing/2014/main" id="{60C148D3-5B3E-EC43-8A2C-E4AC4781240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79425" y="2034622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51" name="Picture Placeholder 5">
            <a:extLst>
              <a:ext uri="{FF2B5EF4-FFF2-40B4-BE49-F238E27FC236}">
                <a16:creationId xmlns:a16="http://schemas.microsoft.com/office/drawing/2014/main" id="{805BD7C6-172C-1242-833C-8E46D089F33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56797" y="3941335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52" name="Picture Placeholder 5">
            <a:extLst>
              <a:ext uri="{FF2B5EF4-FFF2-40B4-BE49-F238E27FC236}">
                <a16:creationId xmlns:a16="http://schemas.microsoft.com/office/drawing/2014/main" id="{C483D8E6-2F9B-9649-98C2-CDC65C490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45483" y="3941335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7521F3FF-EF40-6448-8C9F-829EA070412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368111" y="3941335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54" name="Picture Placeholder 5">
            <a:extLst>
              <a:ext uri="{FF2B5EF4-FFF2-40B4-BE49-F238E27FC236}">
                <a16:creationId xmlns:a16="http://schemas.microsoft.com/office/drawing/2014/main" id="{48B33A7F-6F58-BC44-9157-32F7C789D54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79425" y="3941335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A811E-9F83-C04D-91E5-9D08F91B0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756308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_Right Curved Content_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6301974-6D33-B640-8544-4D7A4FEA3F0F}"/>
              </a:ext>
            </a:extLst>
          </p:cNvPr>
          <p:cNvSpPr/>
          <p:nvPr userDrawn="1"/>
        </p:nvSpPr>
        <p:spPr>
          <a:xfrm>
            <a:off x="0" y="-2"/>
            <a:ext cx="930302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21">
            <a:extLst>
              <a:ext uri="{FF2B5EF4-FFF2-40B4-BE49-F238E27FC236}">
                <a16:creationId xmlns:a16="http://schemas.microsoft.com/office/drawing/2014/main" id="{81E9AA89-765C-6E40-AA07-B1980D4E6F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97845" y="0"/>
            <a:ext cx="4905241" cy="6857999"/>
          </a:xfrm>
          <a:custGeom>
            <a:avLst/>
            <a:gdLst>
              <a:gd name="connsiteX0" fmla="*/ 1072138 w 4905241"/>
              <a:gd name="connsiteY0" fmla="*/ 0 h 6857999"/>
              <a:gd name="connsiteX1" fmla="*/ 4905241 w 4905241"/>
              <a:gd name="connsiteY1" fmla="*/ 0 h 6857999"/>
              <a:gd name="connsiteX2" fmla="*/ 4905241 w 4905241"/>
              <a:gd name="connsiteY2" fmla="*/ 6857999 h 6857999"/>
              <a:gd name="connsiteX3" fmla="*/ 1072139 w 4905241"/>
              <a:gd name="connsiteY3" fmla="*/ 6857999 h 6857999"/>
              <a:gd name="connsiteX4" fmla="*/ 1028796 w 4905241"/>
              <a:gd name="connsiteY4" fmla="*/ 6797049 h 6857999"/>
              <a:gd name="connsiteX5" fmla="*/ 0 w 4905241"/>
              <a:gd name="connsiteY5" fmla="*/ 3428999 h 6857999"/>
              <a:gd name="connsiteX6" fmla="*/ 1028796 w 4905241"/>
              <a:gd name="connsiteY6" fmla="*/ 6094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5241" h="6857999">
                <a:moveTo>
                  <a:pt x="1072138" y="0"/>
                </a:moveTo>
                <a:lnTo>
                  <a:pt x="4905241" y="0"/>
                </a:lnTo>
                <a:lnTo>
                  <a:pt x="4905241" y="6857999"/>
                </a:lnTo>
                <a:lnTo>
                  <a:pt x="1072139" y="6857999"/>
                </a:lnTo>
                <a:lnTo>
                  <a:pt x="1028796" y="6797049"/>
                </a:lnTo>
                <a:cubicBezTo>
                  <a:pt x="379267" y="5835620"/>
                  <a:pt x="0" y="4676601"/>
                  <a:pt x="0" y="3428999"/>
                </a:cubicBezTo>
                <a:cubicBezTo>
                  <a:pt x="0" y="2181398"/>
                  <a:pt x="379267" y="1022379"/>
                  <a:pt x="1028796" y="609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570"/>
            <a:ext cx="6278258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add your bottom text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80024"/>
            <a:ext cx="6278258" cy="2764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A6B4A6-AE8F-C947-A5E6-2B1A2CBCFC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800" y="1993249"/>
            <a:ext cx="6276227" cy="3689779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A1FCB-B589-B648-A957-126AD7A1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365125"/>
            <a:ext cx="6274952" cy="10095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3608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1 picture right_Whi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899B89-6E7E-F145-8F9A-F1FAAE580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2756" y="1825625"/>
            <a:ext cx="7039243" cy="50323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907253-A046-7546-BF64-CF5B488F08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433623" y="6356350"/>
            <a:ext cx="325744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939F48-B5E1-3248-AD76-2047F04AB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01FC7A7-6224-2047-95A0-E41728A4E0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0060" y="1808585"/>
            <a:ext cx="4211003" cy="4357265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4037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eft + 1 Column Text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BA240CA-DE87-C342-8BD7-866CCEF0CF0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E461B3E-246C-C144-8ADA-87DA99E650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0" tIns="0" rIns="0" bIns="0"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1A38C1-0827-9D47-8BFB-5B988B7CFD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3026129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8A10B-FDF4-8A48-9B3F-816E79B9C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765175"/>
            <a:ext cx="4211003" cy="10429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0D08270-2789-FC40-B25E-D5236D7EFB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6" y="2009194"/>
            <a:ext cx="4211638" cy="4156656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37476633-54A4-124B-A965-13C5056AD9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305168" y="821635"/>
            <a:ext cx="6407407" cy="5344215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36FF263-88D1-9849-B57D-7959E66207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1118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5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FFF942-5FE9-384B-BC9C-5CAE15288F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4" y="2962864"/>
            <a:ext cx="5455051" cy="320298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279E1E0D-DFC2-FE4D-85E9-D82FD82BD3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18946" y="2962864"/>
            <a:ext cx="2563983" cy="15092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AF2401BD-6B1D-2B47-AC9E-1715BBA87C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024396" y="2962864"/>
            <a:ext cx="2688179" cy="15092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242E4854-1864-0140-B460-3B80BDC868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14748" y="4652867"/>
            <a:ext cx="2563983" cy="15092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0282FA16-76E5-B04F-BF0C-120D8450D4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24396" y="4652867"/>
            <a:ext cx="2688179" cy="15092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341ED80-BB0B-8842-8F08-6EF67384DD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F6E966-3D3F-7640-893E-114082F19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1435608"/>
            <a:ext cx="5455050" cy="1363744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1FA39A-3FF4-5140-B438-209F880F7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6"/>
            <a:ext cx="9829165" cy="5081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14048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 Text + 3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F7292761-C2AC-794B-8B85-C713EFB1AF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FFF942-5FE9-384B-BC9C-5CAE15288F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820940" y="1808163"/>
            <a:ext cx="1924410" cy="27429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0E005FD9-67B5-1A43-ACB5-150BA4677E3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98890" y="1808163"/>
            <a:ext cx="1924410" cy="27429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A95AC2B-BE40-744C-8429-09548386951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776840" y="1809766"/>
            <a:ext cx="1924410" cy="27429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DA24FD95-EF66-744A-9C22-9456A61563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060" y="279165"/>
            <a:ext cx="2470210" cy="2967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8339611-FE3B-6048-A0EA-2DE9F2F707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0060" y="1808163"/>
            <a:ext cx="3902390" cy="1084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E546EFC-817F-2C43-B69C-F35B776E6C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0059" y="3029119"/>
            <a:ext cx="3902390" cy="1521967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02532FD-79FF-6D4C-89B6-B1BF0362DE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AA89D6C-D2FE-6040-B6F1-867EFAB29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730140"/>
            <a:ext cx="9829165" cy="10095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95415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3A3702-0B3C-AB40-84E6-B5560EBE4E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0060" y="1808163"/>
            <a:ext cx="5375733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5999" y="1808163"/>
            <a:ext cx="5616575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12E0AD-9256-8444-937C-B4524AE5FF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9FE132-0AD8-4C45-B6D1-61670981A2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259687-56C0-E149-BB3B-6356FC72C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0989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_No Bulle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84C9C8E-83E9-8444-9AFF-C1149E5CA4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E5CDAC5-37EC-CA42-A9C7-AE17165145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808585"/>
            <a:ext cx="8424863" cy="4357265"/>
          </a:xfrm>
          <a:prstGeom prst="rect">
            <a:avLst/>
          </a:prstGeom>
        </p:spPr>
        <p:txBody>
          <a:bodyPr numCol="1" spcCol="360000"/>
          <a:lstStyle>
            <a:lvl1pPr marL="0" indent="0">
              <a:spcAft>
                <a:spcPts val="600"/>
              </a:spcAft>
              <a:buNone/>
              <a:defRPr/>
            </a:lvl1pPr>
            <a:lvl2pPr marL="457200" indent="0">
              <a:spcAft>
                <a:spcPts val="600"/>
              </a:spcAft>
              <a:buNone/>
              <a:defRPr/>
            </a:lvl2pPr>
            <a:lvl3pPr marL="914400" indent="0">
              <a:spcAft>
                <a:spcPts val="600"/>
              </a:spcAft>
              <a:buNone/>
              <a:defRPr/>
            </a:lvl3pPr>
            <a:lvl4pPr marL="1371600" indent="0">
              <a:spcAft>
                <a:spcPts val="600"/>
              </a:spcAft>
              <a:buNone/>
              <a:defRPr/>
            </a:lvl4pPr>
            <a:lvl5pPr marL="1828800" indent="0">
              <a:spcAft>
                <a:spcPts val="6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0CB76-40C1-244A-8AFC-F6AD31B8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DE87368-5A2F-45FB-9AC2-FEA27A01F2C1}"/>
              </a:ext>
            </a:extLst>
          </p:cNvPr>
          <p:cNvGrpSpPr/>
          <p:nvPr userDrawn="1"/>
        </p:nvGrpSpPr>
        <p:grpSpPr>
          <a:xfrm>
            <a:off x="0" y="1017454"/>
            <a:ext cx="2724727" cy="5851240"/>
            <a:chOff x="0" y="1017454"/>
            <a:chExt cx="2724727" cy="5851240"/>
          </a:xfrm>
        </p:grpSpPr>
        <p:pic>
          <p:nvPicPr>
            <p:cNvPr id="9" name="Picture Placeholder 19">
              <a:extLst>
                <a:ext uri="{FF2B5EF4-FFF2-40B4-BE49-F238E27FC236}">
                  <a16:creationId xmlns:a16="http://schemas.microsoft.com/office/drawing/2014/main" id="{155FABAE-1E3C-4A2B-B264-0D948267D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" r="374"/>
            <a:stretch>
              <a:fillRect/>
            </a:stretch>
          </p:blipFill>
          <p:spPr>
            <a:xfrm>
              <a:off x="0" y="1017454"/>
              <a:ext cx="2570959" cy="5851240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3E2CE4C-1E6C-4998-B492-20FA94464A4A}"/>
                </a:ext>
              </a:extLst>
            </p:cNvPr>
            <p:cNvCxnSpPr/>
            <p:nvPr/>
          </p:nvCxnSpPr>
          <p:spPr>
            <a:xfrm flipH="1">
              <a:off x="0" y="1017454"/>
              <a:ext cx="2724727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817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3A3702-0B3C-AB40-84E6-B5560EBE4E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4" y="1808163"/>
            <a:ext cx="3528000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6337" y="1808163"/>
            <a:ext cx="3528000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F64C4D2D-6944-7543-9427-BA06983779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73250" y="1808163"/>
            <a:ext cx="3528000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E421F1-49EE-6D49-A028-0C057F48C9B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1847E93-A953-7440-BEEB-46AEF5C26B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18AB86-18AE-1746-89D6-66329BAE3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49660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+ 2 Sub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3A3702-0B3C-AB40-84E6-B5560EBE4E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5" y="2009193"/>
            <a:ext cx="5437900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3350" y="2009193"/>
            <a:ext cx="5437900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94817D-7361-E54B-B627-E2558CE774E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520B317-C160-1249-A73A-A9C943970B8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54379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0EEEBE6-A3A5-F949-AFA5-79CE9FB889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3350" y="1374710"/>
            <a:ext cx="54379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D96EE1-F67B-464D-8131-76F771084C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73DBAB-0E28-B748-8DB6-9E04717E2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3916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Sub + 3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3A3702-0B3C-AB40-84E6-B5560EBE4E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5" y="2009193"/>
            <a:ext cx="3503169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6350" y="2009193"/>
            <a:ext cx="3503169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F64C4D2D-6944-7543-9427-BA06983779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13275" y="2009193"/>
            <a:ext cx="3503169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327903-13B3-E74B-9CEE-DFF99CE707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9DEA145-D7CB-7941-A3C1-72D98C758D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7CF2624-BD7A-C44B-B65F-FF7DE1CDB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91022F8-9E5D-914F-91DC-1CC72C353A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350316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3F91CF3-BCED-FD4B-9118-3EE25D21D7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6350" y="1374710"/>
            <a:ext cx="350316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00BBF1D-2AFD-A341-874F-8AF68FC1686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09406" y="1374710"/>
            <a:ext cx="350316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</p:spTree>
    <p:extLst>
      <p:ext uri="{BB962C8B-B14F-4D97-AF65-F5344CB8AC3E}">
        <p14:creationId xmlns:p14="http://schemas.microsoft.com/office/powerpoint/2010/main" val="26492101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Text Column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808163"/>
            <a:ext cx="5605250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EDBB55-F807-C24F-A1DE-0443886CBC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61F227-B133-C34F-872C-76A3C5B348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808163"/>
            <a:ext cx="5068998" cy="436403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DFC6FC-9E70-B146-AF0F-4D0549BD70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FE4888-B3AA-1443-9EFC-CA47D9BBD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31824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Text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8B73C-99D6-8146-BE60-77C7CA2A3B4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7770B3-830F-E641-AA97-10AFB2341C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30123"/>
            <a:ext cx="5068998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A902CF9-D4E9-5841-9EF3-70755B3FA1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3F0FD38B-A476-984D-A159-7610115622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2009193"/>
            <a:ext cx="5616575" cy="379285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497350B-2EE3-344C-B6CC-B8BAEFA0478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5068998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22048AB-0B83-7E47-A80B-4A224059A70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4"/>
            <a:ext cx="5068998" cy="379865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8067AD-B15D-9347-9505-237D71E56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37789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ub + 1 Column Text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7CD3DB-A77C-8C4C-8585-F43A6F174B9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6A5F7EB-5079-5742-A89E-BDF0552C8C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14434191-76E8-C741-BFD4-16364A5590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2009193"/>
            <a:ext cx="5616575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B6C9732-E9E9-5C47-912C-D8D8E831966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5068998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131D909-EEF2-914B-9498-939E011A04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1374710"/>
            <a:ext cx="5616575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36A07CD-AFC8-0042-98B8-FE47F6F1BA3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3"/>
            <a:ext cx="5068998" cy="416300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608B9C5-D405-024D-B87A-F62AD4D05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73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88825" y="1808163"/>
            <a:ext cx="3492000" cy="43576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F64C4D2D-6944-7543-9427-BA06983779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8312" y="1808163"/>
            <a:ext cx="3542937" cy="43576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995A94-07E4-B941-8177-3BB51E4F078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F27D61F-08E9-934B-B02D-81E7505B9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3484712-E162-DA4F-BFD6-3F95A1156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885F830-FA73-874F-9833-13F50A18BC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1808163"/>
            <a:ext cx="3486519" cy="436403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76294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2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43873"/>
            <a:ext cx="3486519" cy="2764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7DD213-08DB-EF43-BF09-C187AFD2E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F7466FC-2E70-4B4E-87C0-6F6A86F41A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E64E93D4-C57C-5948-A63F-7D03B844B4C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388825" y="2009193"/>
            <a:ext cx="3492000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3B85AD64-3D4F-0B4D-8733-D3386754EE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8312" y="2009193"/>
            <a:ext cx="3542937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7D22795-D1ED-0D4D-89CF-ED185EF7EB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348651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F24F3BB-D155-F44A-8ADD-548EF68CB5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2009486"/>
            <a:ext cx="3486519" cy="379835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64814-5D60-244A-81D3-926627100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71145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Sub + 1 Column Text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2C5026-36F5-0A47-95F8-6FBECF381D0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AEBA449-E1C2-184B-A517-B09344EFDC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EE2E79-FFFC-9743-99AB-BCF21CD08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22522E3A-1033-3E44-91E5-D551BCD6EBD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348651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DD0F857-333D-BF40-A6FC-EF834C2972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88826" y="1374710"/>
            <a:ext cx="34920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907A3FD7-55F2-CE49-82A6-67CE073E86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88825" y="2009193"/>
            <a:ext cx="3492000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30B04FAE-5B54-CE4C-8FAF-8931C41E7D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8312" y="2009193"/>
            <a:ext cx="3542937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E2AB787-3C55-3B4A-B676-8EBEAA44A7C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2009486"/>
            <a:ext cx="3486519" cy="4162714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EC3F27F-5F84-3645-8331-2E69CC70FC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8311" y="1386108"/>
            <a:ext cx="3554263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</p:spTree>
    <p:extLst>
      <p:ext uri="{BB962C8B-B14F-4D97-AF65-F5344CB8AC3E}">
        <p14:creationId xmlns:p14="http://schemas.microsoft.com/office/powerpoint/2010/main" val="30660786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Sub + 4 Column Text +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0C4718-1326-BB4E-B090-ECD88800D2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Picture Placeholder 19">
            <a:extLst>
              <a:ext uri="{FF2B5EF4-FFF2-40B4-BE49-F238E27FC236}">
                <a16:creationId xmlns:a16="http://schemas.microsoft.com/office/drawing/2014/main" id="{EF59CFC1-EB86-4445-B77E-0FA809D4D34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79425" y="2200250"/>
            <a:ext cx="1980000" cy="25463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7" name="Picture Placeholder 19">
            <a:extLst>
              <a:ext uri="{FF2B5EF4-FFF2-40B4-BE49-F238E27FC236}">
                <a16:creationId xmlns:a16="http://schemas.microsoft.com/office/drawing/2014/main" id="{216B027C-838A-EB40-86A6-53D4C475DA42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287713" y="2200250"/>
            <a:ext cx="1980000" cy="25463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10" name="Picture Placeholder 19">
            <a:extLst>
              <a:ext uri="{FF2B5EF4-FFF2-40B4-BE49-F238E27FC236}">
                <a16:creationId xmlns:a16="http://schemas.microsoft.com/office/drawing/2014/main" id="{F57396B9-A12C-6E4F-9588-ACF2BE439796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096282" y="2200250"/>
            <a:ext cx="1980000" cy="25463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13" name="Picture Placeholder 19">
            <a:extLst>
              <a:ext uri="{FF2B5EF4-FFF2-40B4-BE49-F238E27FC236}">
                <a16:creationId xmlns:a16="http://schemas.microsoft.com/office/drawing/2014/main" id="{C69E4486-2849-5441-81F6-DF66139AD0A3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904288" y="2200250"/>
            <a:ext cx="1980000" cy="25463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E23DF3BE-B726-D343-86EF-206B935503E8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59A28C2-21B7-6349-A443-A066D82E2F3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479425" y="1474475"/>
            <a:ext cx="1981200" cy="563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 i="0">
                <a:latin typeface="Berlingske Sans Extrabold" panose="02000703050000020004" pitchFamily="2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A5B35B78-C7C7-2F4B-B4DE-03F27E286DF0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288190" y="1474475"/>
            <a:ext cx="1981200" cy="563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 i="0">
                <a:latin typeface="Berlingske Sans Extrabold" panose="02000703050000020004" pitchFamily="2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F9477C53-1638-4D42-A3C8-DEBA998A6A6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6096000" y="1474475"/>
            <a:ext cx="1981200" cy="563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 i="0">
                <a:latin typeface="Berlingske Sans Extrabold" panose="02000703050000020004" pitchFamily="2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5BF722AC-C6F9-EF47-A75A-FC2E3C2B8D5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8904447" y="1474475"/>
            <a:ext cx="1981200" cy="563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 i="0">
                <a:latin typeface="Berlingske Sans Extrabold" panose="02000703050000020004" pitchFamily="2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47ECC223-E360-BC45-AB0B-79CD6708066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79425" y="4908732"/>
            <a:ext cx="1981200" cy="12854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US"/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36E4A95E-FECE-E840-B485-8E67253F64AD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288190" y="4908732"/>
            <a:ext cx="1981200" cy="12854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US"/>
          </a:p>
        </p:txBody>
      </p:sp>
      <p:sp>
        <p:nvSpPr>
          <p:cNvPr id="37" name="Text Placeholder 29">
            <a:extLst>
              <a:ext uri="{FF2B5EF4-FFF2-40B4-BE49-F238E27FC236}">
                <a16:creationId xmlns:a16="http://schemas.microsoft.com/office/drawing/2014/main" id="{85C7B5D8-69AC-C94E-BE68-BC5FDB49C0BE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6096000" y="4908732"/>
            <a:ext cx="1981200" cy="12854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US"/>
          </a:p>
        </p:txBody>
      </p:sp>
      <p:sp>
        <p:nvSpPr>
          <p:cNvPr id="38" name="Text Placeholder 29">
            <a:extLst>
              <a:ext uri="{FF2B5EF4-FFF2-40B4-BE49-F238E27FC236}">
                <a16:creationId xmlns:a16="http://schemas.microsoft.com/office/drawing/2014/main" id="{322F6CCD-82BD-3C4A-B329-20AD017A3C3D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8904447" y="4908732"/>
            <a:ext cx="1981200" cy="12854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476108F-33CE-0843-BE0F-7455085C29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D47492-192B-8445-B86F-C55E58AED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2507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403"/>
            <a:ext cx="9829800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FB2053-457C-234E-BF19-E2881488451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AF3F81-94BF-4B47-A5BD-B9E8A60364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808585"/>
            <a:ext cx="9828635" cy="3971165"/>
          </a:xfrm>
          <a:prstGeom prst="rect">
            <a:avLst/>
          </a:prstGeom>
        </p:spPr>
        <p:txBody>
          <a:bodyPr numCol="2" spcCol="36000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AC67B4C-AA30-6A41-9418-3163E0F4F8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34AD474-361C-5B4F-BED0-B01E98C5A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66925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345" imgH="343" progId="TCLayout.ActiveDocument.1">
                  <p:embed/>
                </p:oleObj>
              </mc:Choice>
              <mc:Fallback>
                <p:oleObj name="think-cell Slide" r:id="rId4" imgW="345" imgH="34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3229"/>
            <a:ext cx="12192000" cy="7647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BA1BB9-2A62-4E04-B62F-DDCDA314C49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99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35108-3828-0E4E-9EFE-E1EB6E6201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7134F-D4AF-6D4A-931B-A397F1EF00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E178BA0-74D9-FD48-AB42-E6EB5A84C812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61327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F1DB288-0772-574D-B40E-CFF3ACA641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A31847-2AF0-294D-B916-4692771CFC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5F57E24-57E5-C046-B836-FC92453958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9DA518-22DE-1A47-8F2F-A5D76F5086E3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84904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n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79E6D0E7-7A46-BC45-AA8C-B241A6C2D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845556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273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41900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5647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64749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664749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94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273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41901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7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664750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83659E5-8EF4-8A45-9F24-1B4AE93498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4A39888-A38A-C748-9494-521D2E8B35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FBACED0-7913-D64A-A95E-D46CAD95732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4894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ed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273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3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4190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5647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7105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7105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273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4190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5647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7105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41B1A03-019A-AB4A-A0D2-E5A27CD2D1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FDF115AB-6674-FE4C-8735-47E1C203E8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58BE716E-539C-3A49-AEFA-0606608D47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7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F7CBBA4-A7DA-E941-A979-7B0AAA4FF14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1511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vender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393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33125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US"/>
              <a:t>Add text her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D8DFA49-2F7F-3147-A304-69EC5D2A9A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393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7C54CED5-E8F1-7841-8778-508807AF64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3125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4C8D1FE9-FB73-AF46-AAC5-03D14CA633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797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294B6308-4BF3-9847-90BE-7D7CEC8F8D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41529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2D7F37E7-230C-C343-BECB-55734AB64D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4393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B750913-C610-614F-B3AE-2EC44290C9C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3125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B2810B0-F8DF-C146-A3ED-405350DA59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90766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75A2CE6-DFAB-104F-9EEB-DBA0FF408B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9498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A584C9B6-C26B-A848-ACD2-1B31A8567E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90766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6E544971-B467-9346-9A5D-6119AB4F97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49498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EB306962-4E1D-454C-A6B4-5A4FCAD3FC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99170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E659289A-B6B9-1B4E-992C-80723AC36E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7902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2207093D-0AE3-7F47-AC12-1D4621F1E5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90766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75073AEF-5740-F747-B799-3C860882B18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49498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735D8FBE-F524-444D-892F-3044BEE47B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23912" y="2597609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9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8C534923-7194-134A-978E-71F06EEE325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54689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F38C1893-B569-DE47-8A0D-79D27EF86E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23912" y="3398688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AE06F02B-5BB9-AB4B-8831-5B12A24D21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54689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D4D8E94-E835-744D-892D-71E3C45797D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316" y="4199767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1</a:t>
            </a:r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8C948CB6-AFFE-A642-92FD-ED3E26D0573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63093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39534580-C69D-0042-9F3E-223DC45652C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23912" y="5000846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2</a:t>
            </a:r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7C407BF4-2959-814E-BF1B-D2DAB1362E3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54689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1D013E5-6D28-CE47-8FB2-748BCB1B4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51" name="Title 1">
            <a:extLst>
              <a:ext uri="{FF2B5EF4-FFF2-40B4-BE49-F238E27FC236}">
                <a16:creationId xmlns:a16="http://schemas.microsoft.com/office/drawing/2014/main" id="{67BBA32E-1282-0341-8963-47C131CE83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385658"/>
            <a:ext cx="9067266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F5F6A6BA-52FD-7948-A13F-09B9B845C0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8"/>
            <a:ext cx="9067265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27DC7C-34A0-064D-A088-5F14E9C8A6D5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61742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our Column Text_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5EB3247-BEEB-394A-B0DB-4EDB16688E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8E9E84-38CD-D54D-ADBF-9E2119196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F375F8-A904-A546-BDA8-2DBB7FA1CC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9" y="1384473"/>
            <a:ext cx="3590261" cy="5991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 sz="1800" b="1" i="0">
                <a:solidFill>
                  <a:schemeClr val="accent2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9A81444-A86B-0D40-BD71-916200D806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1" y="2319193"/>
            <a:ext cx="5616574" cy="15422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chemeClr val="tx2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GB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A9EF254-19BA-954D-8977-0C1855D3DE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4197084"/>
            <a:ext cx="3590261" cy="5991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 sz="18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C001CE-A79E-D244-8A39-D710EC8A1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1384472"/>
            <a:ext cx="4652112" cy="12763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298B047-C141-5942-A392-E3005A72D5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6413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our Column Text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5EB3247-BEEB-394A-B0DB-4EDB16688E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8E9E84-38CD-D54D-ADBF-9E2119196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F375F8-A904-A546-BDA8-2DBB7FA1CC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9" y="1384473"/>
            <a:ext cx="3590261" cy="5991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 sz="1800" b="1" i="0">
                <a:solidFill>
                  <a:schemeClr val="accent2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9A81444-A86B-0D40-BD71-916200D806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1" y="2319193"/>
            <a:ext cx="5616574" cy="15422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8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GB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A9EF254-19BA-954D-8977-0C1855D3DE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9" y="4197084"/>
            <a:ext cx="3590261" cy="59912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 sz="18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949C54-615E-A746-87BF-99821F74C2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2C001CE-A79E-D244-8A39-D710EC8A1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1384472"/>
            <a:ext cx="4652112" cy="12763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2651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our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&amp; CONFIDENT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397D7D-2EA1-9B47-9452-76AE419CDA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2074097"/>
            <a:ext cx="7021513" cy="114756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  <a:defRPr sz="1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B449392-6C24-5440-9221-EE6A95B1AE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3517557"/>
            <a:ext cx="7021513" cy="26482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F0E2365-244D-1D4F-9ECA-D55FDA48D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59755D7-E897-F542-AE12-61637F90F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05633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Number Lis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&amp; CONFIDENT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397D7D-2EA1-9B47-9452-76AE419CDA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6" y="1824609"/>
            <a:ext cx="8424862" cy="19274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C57327-26DD-0641-8DFF-53F8291FDD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065718"/>
            <a:ext cx="8423864" cy="13627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C8DF399-ACB3-544A-A854-38E1675023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6" y="4515617"/>
            <a:ext cx="8423864" cy="892175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600" b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41B7AFC-73B1-7244-97DD-333775532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BD5479-E685-D54B-80E6-4B7C6CB00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48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1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403D5A-CC3C-0148-BCBD-44C90F0ADD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74DC98B-717B-0C44-A22F-CC7E2B4294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270A8CB-A7A5-A246-B6DF-9EEB47F673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98298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013E0FA-687D-3448-A78A-9B7657630D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3"/>
            <a:ext cx="8424863" cy="416300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B5FC18-43FB-0343-8CAB-DCF057B6D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8891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&amp;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A924C71-EA95-A14C-BD05-C0E8B061D4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808162"/>
            <a:ext cx="8424863" cy="4357687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Font typeface="Arial" panose="020B0604020202020204" pitchFamily="34" charset="0"/>
              <a:buNone/>
              <a:defRPr sz="1800" b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561F2F8-4380-804D-A63D-00366DEB78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B65D4A-BF3A-A341-A4C7-F2728FB08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15516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ection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72C3C05-D7C0-7549-9F26-56AB1BAF677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&amp; CONFIDENTIAL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1F7E558-8018-2F42-A849-0828E25CB3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2FD446F-FDC5-8442-A9D2-F9C96A13DD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99772" y="95848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C2BE388A-E630-D348-9DE0-22909EAF9E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99772" y="175552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3B2EAB8-5277-8349-99D6-E164D3E44E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99772" y="215099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1FEB50FC-8833-C941-B8B6-7278F84D59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99772" y="347393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07F5A53-5F59-BC4F-9FD0-8EB856C8862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99772" y="427097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39C4477-32F3-2B42-A7F2-652BF7B524C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99772" y="466644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7A61E81C-5892-E04A-8CFF-6C3DB9FDE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1115706"/>
            <a:ext cx="4211002" cy="12763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7263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ection Column Text + Graphic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467128C-9254-3646-A9BC-0FFCCAAFA8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A8BB2C48-2943-DC46-8564-43E55E033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60" y="365126"/>
            <a:ext cx="4519687" cy="349854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create a title header line of tex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9424BC0-6A62-B848-815B-D681C0E2C69B}"/>
              </a:ext>
            </a:extLst>
          </p:cNvPr>
          <p:cNvSpPr/>
          <p:nvPr userDrawn="1"/>
        </p:nvSpPr>
        <p:spPr>
          <a:xfrm>
            <a:off x="1093922" y="1532569"/>
            <a:ext cx="1432560" cy="14325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E1A7C6B-1316-984B-9FE2-2AC8B6506AD5}"/>
              </a:ext>
            </a:extLst>
          </p:cNvPr>
          <p:cNvSpPr/>
          <p:nvPr userDrawn="1"/>
        </p:nvSpPr>
        <p:spPr>
          <a:xfrm>
            <a:off x="3766002" y="2375076"/>
            <a:ext cx="1432560" cy="14325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A436EA4-D425-E64F-B1E5-C8EFDD6004C5}"/>
              </a:ext>
            </a:extLst>
          </p:cNvPr>
          <p:cNvSpPr/>
          <p:nvPr userDrawn="1"/>
        </p:nvSpPr>
        <p:spPr>
          <a:xfrm>
            <a:off x="1810202" y="4417457"/>
            <a:ext cx="1432560" cy="14325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C1BD2F1-05CF-C04D-8ADB-45B8508369C3}"/>
              </a:ext>
            </a:extLst>
          </p:cNvPr>
          <p:cNvSpPr/>
          <p:nvPr userDrawn="1"/>
        </p:nvSpPr>
        <p:spPr>
          <a:xfrm>
            <a:off x="2581706" y="2142825"/>
            <a:ext cx="468762" cy="4687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5578775-8C2D-7140-8C2E-103179DEC143}"/>
              </a:ext>
            </a:extLst>
          </p:cNvPr>
          <p:cNvSpPr/>
          <p:nvPr userDrawn="1"/>
        </p:nvSpPr>
        <p:spPr>
          <a:xfrm>
            <a:off x="3317560" y="2372666"/>
            <a:ext cx="468762" cy="4687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3AD0ADF-DACE-2144-AF74-DA9260208742}"/>
              </a:ext>
            </a:extLst>
          </p:cNvPr>
          <p:cNvSpPr/>
          <p:nvPr userDrawn="1"/>
        </p:nvSpPr>
        <p:spPr>
          <a:xfrm>
            <a:off x="3663353" y="1630525"/>
            <a:ext cx="753506" cy="7535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E5C17EA-B0BA-EC43-94BC-57F579C94F24}"/>
              </a:ext>
            </a:extLst>
          </p:cNvPr>
          <p:cNvSpPr/>
          <p:nvPr userDrawn="1"/>
        </p:nvSpPr>
        <p:spPr>
          <a:xfrm>
            <a:off x="3317560" y="4802840"/>
            <a:ext cx="753506" cy="7535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FC66A13-3E71-204C-8E83-C0F7C2582339}"/>
              </a:ext>
            </a:extLst>
          </p:cNvPr>
          <p:cNvSpPr/>
          <p:nvPr userDrawn="1"/>
        </p:nvSpPr>
        <p:spPr>
          <a:xfrm>
            <a:off x="3717289" y="3791093"/>
            <a:ext cx="709730" cy="7097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0640A3A-6B7B-A94D-9CF2-C71E49349AEC}"/>
              </a:ext>
            </a:extLst>
          </p:cNvPr>
          <p:cNvSpPr/>
          <p:nvPr userDrawn="1"/>
        </p:nvSpPr>
        <p:spPr>
          <a:xfrm>
            <a:off x="4488832" y="3843276"/>
            <a:ext cx="657547" cy="65754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9A35044-13D4-DA4D-8F4C-8CFCB3E5297E}"/>
              </a:ext>
            </a:extLst>
          </p:cNvPr>
          <p:cNvSpPr/>
          <p:nvPr userDrawn="1"/>
        </p:nvSpPr>
        <p:spPr>
          <a:xfrm>
            <a:off x="4160059" y="4474067"/>
            <a:ext cx="526086" cy="52608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D78BDF7-ABE3-504B-9FEF-15FA82041139}"/>
              </a:ext>
            </a:extLst>
          </p:cNvPr>
          <p:cNvSpPr/>
          <p:nvPr userDrawn="1"/>
        </p:nvSpPr>
        <p:spPr>
          <a:xfrm>
            <a:off x="3128334" y="4352439"/>
            <a:ext cx="450401" cy="4504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FBD1CA6-E25A-7A43-96CE-54C998DABA3A}"/>
              </a:ext>
            </a:extLst>
          </p:cNvPr>
          <p:cNvSpPr/>
          <p:nvPr userDrawn="1"/>
        </p:nvSpPr>
        <p:spPr>
          <a:xfrm>
            <a:off x="4145864" y="5081198"/>
            <a:ext cx="350534" cy="3505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E322FCB-CBA1-2648-9775-60F3A4797FDB}"/>
              </a:ext>
            </a:extLst>
          </p:cNvPr>
          <p:cNvSpPr/>
          <p:nvPr userDrawn="1"/>
        </p:nvSpPr>
        <p:spPr>
          <a:xfrm>
            <a:off x="1586448" y="3807636"/>
            <a:ext cx="447507" cy="447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4F1720B-4676-5042-B092-C5D05BD1DC3E}"/>
              </a:ext>
            </a:extLst>
          </p:cNvPr>
          <p:cNvSpPr/>
          <p:nvPr userDrawn="1"/>
        </p:nvSpPr>
        <p:spPr>
          <a:xfrm>
            <a:off x="837800" y="4279264"/>
            <a:ext cx="927906" cy="9279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4A5F26F-AABA-4241-8EF0-9FBB1972A4F3}"/>
              </a:ext>
            </a:extLst>
          </p:cNvPr>
          <p:cNvSpPr/>
          <p:nvPr userDrawn="1"/>
        </p:nvSpPr>
        <p:spPr>
          <a:xfrm>
            <a:off x="1474229" y="5231291"/>
            <a:ext cx="250295" cy="2502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8D9A73B-76FA-A144-84CB-6B706656BF67}"/>
              </a:ext>
            </a:extLst>
          </p:cNvPr>
          <p:cNvSpPr/>
          <p:nvPr userDrawn="1"/>
        </p:nvSpPr>
        <p:spPr>
          <a:xfrm>
            <a:off x="1911225" y="4263245"/>
            <a:ext cx="250295" cy="2502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F81FAE4-E983-FD4B-B019-9C73A5B1833E}"/>
              </a:ext>
            </a:extLst>
          </p:cNvPr>
          <p:cNvSpPr/>
          <p:nvPr userDrawn="1"/>
        </p:nvSpPr>
        <p:spPr>
          <a:xfrm>
            <a:off x="1181952" y="3921754"/>
            <a:ext cx="250295" cy="25029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0F2FAF9F-8F32-6141-8193-83FD3485D90F}"/>
              </a:ext>
            </a:extLst>
          </p:cNvPr>
          <p:cNvSpPr/>
          <p:nvPr userDrawn="1"/>
        </p:nvSpPr>
        <p:spPr>
          <a:xfrm>
            <a:off x="863947" y="3831745"/>
            <a:ext cx="229975" cy="229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805024C-6A72-5248-A730-8B2DBD3CFC1B}"/>
              </a:ext>
            </a:extLst>
          </p:cNvPr>
          <p:cNvSpPr/>
          <p:nvPr userDrawn="1"/>
        </p:nvSpPr>
        <p:spPr>
          <a:xfrm>
            <a:off x="479425" y="3627051"/>
            <a:ext cx="229975" cy="229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34B34A7-8102-2D48-83DB-C548EF2EF53A}"/>
              </a:ext>
            </a:extLst>
          </p:cNvPr>
          <p:cNvSpPr/>
          <p:nvPr userDrawn="1"/>
        </p:nvSpPr>
        <p:spPr>
          <a:xfrm>
            <a:off x="564780" y="4065326"/>
            <a:ext cx="352131" cy="35213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56AC990-D2F2-9048-BA3E-178B2ECDB91C}"/>
              </a:ext>
            </a:extLst>
          </p:cNvPr>
          <p:cNvSpPr/>
          <p:nvPr userDrawn="1"/>
        </p:nvSpPr>
        <p:spPr>
          <a:xfrm>
            <a:off x="1586448" y="3292012"/>
            <a:ext cx="434579" cy="4345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E3035F6B-23FE-344E-84B7-7F56261E9248}"/>
              </a:ext>
            </a:extLst>
          </p:cNvPr>
          <p:cNvSpPr/>
          <p:nvPr userDrawn="1"/>
        </p:nvSpPr>
        <p:spPr>
          <a:xfrm>
            <a:off x="585567" y="2744980"/>
            <a:ext cx="1000881" cy="100088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31CADE2-F7E9-D340-A54C-64E7BADB35C0}"/>
              </a:ext>
            </a:extLst>
          </p:cNvPr>
          <p:cNvSpPr/>
          <p:nvPr userDrawn="1"/>
        </p:nvSpPr>
        <p:spPr>
          <a:xfrm>
            <a:off x="583483" y="2291799"/>
            <a:ext cx="461514" cy="46151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95397CC-A603-7A49-86B8-0EA0677750AC}"/>
              </a:ext>
            </a:extLst>
          </p:cNvPr>
          <p:cNvSpPr/>
          <p:nvPr userDrawn="1"/>
        </p:nvSpPr>
        <p:spPr>
          <a:xfrm>
            <a:off x="3158629" y="1695061"/>
            <a:ext cx="413231" cy="41323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7E1653E-C909-994A-BC65-54FAD8FD7904}"/>
              </a:ext>
            </a:extLst>
          </p:cNvPr>
          <p:cNvSpPr/>
          <p:nvPr userDrawn="1"/>
        </p:nvSpPr>
        <p:spPr>
          <a:xfrm>
            <a:off x="4433160" y="2064490"/>
            <a:ext cx="232706" cy="2327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DAEC365-0AF1-8B43-97C2-90DC6FFC10B1}"/>
              </a:ext>
            </a:extLst>
          </p:cNvPr>
          <p:cNvSpPr/>
          <p:nvPr userDrawn="1"/>
        </p:nvSpPr>
        <p:spPr>
          <a:xfrm>
            <a:off x="4758375" y="2182515"/>
            <a:ext cx="232706" cy="2327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D3598B5-1EB6-A647-86B4-E25DC2DD61E7}"/>
              </a:ext>
            </a:extLst>
          </p:cNvPr>
          <p:cNvSpPr/>
          <p:nvPr userDrawn="1"/>
        </p:nvSpPr>
        <p:spPr>
          <a:xfrm>
            <a:off x="3442301" y="1353887"/>
            <a:ext cx="357364" cy="3573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C9C15AF9-7FA6-7C4E-BF77-EEB57DCA1A36}"/>
              </a:ext>
            </a:extLst>
          </p:cNvPr>
          <p:cNvSpPr/>
          <p:nvPr userDrawn="1"/>
        </p:nvSpPr>
        <p:spPr>
          <a:xfrm>
            <a:off x="2782003" y="1773919"/>
            <a:ext cx="284117" cy="2841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3DD1A704-9F80-E64D-96B6-4AC5A6C59ECA}"/>
              </a:ext>
            </a:extLst>
          </p:cNvPr>
          <p:cNvSpPr/>
          <p:nvPr userDrawn="1"/>
        </p:nvSpPr>
        <p:spPr>
          <a:xfrm>
            <a:off x="3123902" y="2182462"/>
            <a:ext cx="236999" cy="2369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1944B98-851C-6647-864D-73D8B09BE9DE}"/>
              </a:ext>
            </a:extLst>
          </p:cNvPr>
          <p:cNvSpPr/>
          <p:nvPr userDrawn="1"/>
        </p:nvSpPr>
        <p:spPr>
          <a:xfrm>
            <a:off x="1859299" y="3030884"/>
            <a:ext cx="236999" cy="2369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79DA54D3-5395-1244-8787-721C006C15FD}"/>
              </a:ext>
            </a:extLst>
          </p:cNvPr>
          <p:cNvSpPr/>
          <p:nvPr userDrawn="1"/>
        </p:nvSpPr>
        <p:spPr>
          <a:xfrm>
            <a:off x="1674226" y="3019678"/>
            <a:ext cx="135809" cy="13580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C655737-0593-2B4D-B30B-846C7E7872AD}"/>
              </a:ext>
            </a:extLst>
          </p:cNvPr>
          <p:cNvSpPr/>
          <p:nvPr userDrawn="1"/>
        </p:nvSpPr>
        <p:spPr>
          <a:xfrm>
            <a:off x="3841185" y="3626908"/>
            <a:ext cx="135809" cy="13580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9AE0DE89-03EE-2245-9BEF-23BD161F234E}"/>
              </a:ext>
            </a:extLst>
          </p:cNvPr>
          <p:cNvSpPr/>
          <p:nvPr userDrawn="1"/>
        </p:nvSpPr>
        <p:spPr>
          <a:xfrm>
            <a:off x="2085332" y="1140031"/>
            <a:ext cx="468762" cy="4687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53803ED-ACA7-1446-8F8D-872332592CE0}"/>
              </a:ext>
            </a:extLst>
          </p:cNvPr>
          <p:cNvSpPr/>
          <p:nvPr userDrawn="1"/>
        </p:nvSpPr>
        <p:spPr>
          <a:xfrm>
            <a:off x="2692786" y="1080106"/>
            <a:ext cx="618425" cy="61842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83E4229B-E2B9-5047-A93D-DBE5EA87DA52}"/>
              </a:ext>
            </a:extLst>
          </p:cNvPr>
          <p:cNvSpPr/>
          <p:nvPr userDrawn="1"/>
        </p:nvSpPr>
        <p:spPr>
          <a:xfrm>
            <a:off x="2446997" y="1630524"/>
            <a:ext cx="254251" cy="2542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24097120-2204-704F-A7EC-A826D39779A6}"/>
              </a:ext>
            </a:extLst>
          </p:cNvPr>
          <p:cNvSpPr/>
          <p:nvPr userDrawn="1"/>
        </p:nvSpPr>
        <p:spPr>
          <a:xfrm>
            <a:off x="2242038" y="4232811"/>
            <a:ext cx="124114" cy="12411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9744E37C-7C74-8142-839B-933B0A9C3E0F}"/>
              </a:ext>
            </a:extLst>
          </p:cNvPr>
          <p:cNvSpPr/>
          <p:nvPr userDrawn="1"/>
        </p:nvSpPr>
        <p:spPr>
          <a:xfrm>
            <a:off x="3721309" y="4541640"/>
            <a:ext cx="196808" cy="19680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23EB13BB-87B8-494A-93F5-9B084F29411F}"/>
              </a:ext>
            </a:extLst>
          </p:cNvPr>
          <p:cNvSpPr/>
          <p:nvPr userDrawn="1"/>
        </p:nvSpPr>
        <p:spPr>
          <a:xfrm>
            <a:off x="3090449" y="5629292"/>
            <a:ext cx="220761" cy="2207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029C67C-53EB-C948-A88D-4D17C5A992B9}"/>
              </a:ext>
            </a:extLst>
          </p:cNvPr>
          <p:cNvSpPr/>
          <p:nvPr userDrawn="1"/>
        </p:nvSpPr>
        <p:spPr>
          <a:xfrm>
            <a:off x="3980548" y="5481586"/>
            <a:ext cx="155769" cy="1557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38939670-CF32-6D44-99E3-1A91F0662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2EAA834D-5A20-344F-B3D9-65D1D5E324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99772" y="95848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ECE90336-4F8F-8C49-8B87-8377D429CD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99772" y="175552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7420D1E9-F672-EA44-ACD8-7E065F1D5BF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99772" y="215099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6CABFACA-2C9F-B44C-8F8F-1BD314557B5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99772" y="347393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6D951F71-6634-8A43-A2F9-EE4E4684D77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99772" y="427097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DF635A7-01A8-CB49-9E3E-F56DF33BA1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99772" y="466644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0753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ection Column Text + Graphic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029EAC7D-873A-3D46-8D06-8C3CD725DB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28CDEEB4-C554-6C49-888C-6EBCA05F82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66" name="Slide Number Placeholder 6">
            <a:extLst>
              <a:ext uri="{FF2B5EF4-FFF2-40B4-BE49-F238E27FC236}">
                <a16:creationId xmlns:a16="http://schemas.microsoft.com/office/drawing/2014/main" id="{D246296A-5D37-944B-A934-196353B46E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80060" y="6356350"/>
            <a:ext cx="875554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7" name="Footer Placeholder 3">
            <a:extLst>
              <a:ext uri="{FF2B5EF4-FFF2-40B4-BE49-F238E27FC236}">
                <a16:creationId xmlns:a16="http://schemas.microsoft.com/office/drawing/2014/main" id="{B0B4D4A5-4403-D34E-B197-3AAF452275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68" name="Title 16">
            <a:extLst>
              <a:ext uri="{FF2B5EF4-FFF2-40B4-BE49-F238E27FC236}">
                <a16:creationId xmlns:a16="http://schemas.microsoft.com/office/drawing/2014/main" id="{35782344-C816-BE4D-8CAA-50D33AE1F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60" y="365126"/>
            <a:ext cx="4519687" cy="349854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create a title header line of text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F5BE745-87EA-7644-B95A-C6C0CEA483D2}"/>
              </a:ext>
            </a:extLst>
          </p:cNvPr>
          <p:cNvSpPr/>
          <p:nvPr userDrawn="1"/>
        </p:nvSpPr>
        <p:spPr>
          <a:xfrm>
            <a:off x="1093922" y="1532569"/>
            <a:ext cx="1432560" cy="14325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4A02240F-A24E-124F-990B-88D402A547F2}"/>
              </a:ext>
            </a:extLst>
          </p:cNvPr>
          <p:cNvSpPr/>
          <p:nvPr userDrawn="1"/>
        </p:nvSpPr>
        <p:spPr>
          <a:xfrm>
            <a:off x="3766002" y="2375076"/>
            <a:ext cx="1432560" cy="14325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12D74C89-BF70-9E41-8838-CE11B07F4D1E}"/>
              </a:ext>
            </a:extLst>
          </p:cNvPr>
          <p:cNvSpPr/>
          <p:nvPr userDrawn="1"/>
        </p:nvSpPr>
        <p:spPr>
          <a:xfrm>
            <a:off x="1810202" y="4417457"/>
            <a:ext cx="1432560" cy="14325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B1A710DE-74CD-F74A-B8B5-55A32E8E9B36}"/>
              </a:ext>
            </a:extLst>
          </p:cNvPr>
          <p:cNvSpPr/>
          <p:nvPr userDrawn="1"/>
        </p:nvSpPr>
        <p:spPr>
          <a:xfrm>
            <a:off x="2581706" y="2142825"/>
            <a:ext cx="468762" cy="4687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71A850E1-189B-4448-9AD5-C6D5EAF152E1}"/>
              </a:ext>
            </a:extLst>
          </p:cNvPr>
          <p:cNvSpPr/>
          <p:nvPr userDrawn="1"/>
        </p:nvSpPr>
        <p:spPr>
          <a:xfrm>
            <a:off x="3317560" y="2372666"/>
            <a:ext cx="468762" cy="4687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279E1766-7367-5C4F-BF8A-9F4814C39EEA}"/>
              </a:ext>
            </a:extLst>
          </p:cNvPr>
          <p:cNvSpPr/>
          <p:nvPr userDrawn="1"/>
        </p:nvSpPr>
        <p:spPr>
          <a:xfrm>
            <a:off x="3663353" y="1630525"/>
            <a:ext cx="753506" cy="7535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D8C3BE82-14F2-1B4D-91C3-79C6D4D047B8}"/>
              </a:ext>
            </a:extLst>
          </p:cNvPr>
          <p:cNvSpPr/>
          <p:nvPr userDrawn="1"/>
        </p:nvSpPr>
        <p:spPr>
          <a:xfrm>
            <a:off x="3317560" y="4802840"/>
            <a:ext cx="753506" cy="7535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54082C00-3FC4-8045-870B-3B9E3480ED6B}"/>
              </a:ext>
            </a:extLst>
          </p:cNvPr>
          <p:cNvSpPr/>
          <p:nvPr userDrawn="1"/>
        </p:nvSpPr>
        <p:spPr>
          <a:xfrm>
            <a:off x="3717289" y="3791093"/>
            <a:ext cx="709730" cy="7097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1E52B55E-BEAD-0540-8A84-B873BA508A4B}"/>
              </a:ext>
            </a:extLst>
          </p:cNvPr>
          <p:cNvSpPr/>
          <p:nvPr userDrawn="1"/>
        </p:nvSpPr>
        <p:spPr>
          <a:xfrm>
            <a:off x="4488832" y="3843276"/>
            <a:ext cx="657547" cy="65754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A111F401-D233-B748-81E3-5D8D93B95AF6}"/>
              </a:ext>
            </a:extLst>
          </p:cNvPr>
          <p:cNvSpPr/>
          <p:nvPr userDrawn="1"/>
        </p:nvSpPr>
        <p:spPr>
          <a:xfrm>
            <a:off x="4160059" y="4474067"/>
            <a:ext cx="526086" cy="52608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805A081B-D24C-074D-9E90-FD20347ED480}"/>
              </a:ext>
            </a:extLst>
          </p:cNvPr>
          <p:cNvSpPr/>
          <p:nvPr userDrawn="1"/>
        </p:nvSpPr>
        <p:spPr>
          <a:xfrm>
            <a:off x="3128334" y="4352439"/>
            <a:ext cx="450401" cy="4504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142CD3F6-5283-5C48-855E-144504E7F622}"/>
              </a:ext>
            </a:extLst>
          </p:cNvPr>
          <p:cNvSpPr/>
          <p:nvPr userDrawn="1"/>
        </p:nvSpPr>
        <p:spPr>
          <a:xfrm>
            <a:off x="4145864" y="5081198"/>
            <a:ext cx="350534" cy="3505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EA6D94CF-23CE-F641-8653-CBD75EF2501A}"/>
              </a:ext>
            </a:extLst>
          </p:cNvPr>
          <p:cNvSpPr/>
          <p:nvPr userDrawn="1"/>
        </p:nvSpPr>
        <p:spPr>
          <a:xfrm>
            <a:off x="1586448" y="3807636"/>
            <a:ext cx="447507" cy="44750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BB31CD42-7720-DD4D-9F93-4240C68C8E3C}"/>
              </a:ext>
            </a:extLst>
          </p:cNvPr>
          <p:cNvSpPr/>
          <p:nvPr userDrawn="1"/>
        </p:nvSpPr>
        <p:spPr>
          <a:xfrm>
            <a:off x="837800" y="4279264"/>
            <a:ext cx="927906" cy="9279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62DE4108-C990-104C-832E-ABB8FE05D175}"/>
              </a:ext>
            </a:extLst>
          </p:cNvPr>
          <p:cNvSpPr/>
          <p:nvPr userDrawn="1"/>
        </p:nvSpPr>
        <p:spPr>
          <a:xfrm>
            <a:off x="1474229" y="5231291"/>
            <a:ext cx="250295" cy="2502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508E1C81-B08C-C34F-951C-D0C54BA363CB}"/>
              </a:ext>
            </a:extLst>
          </p:cNvPr>
          <p:cNvSpPr/>
          <p:nvPr userDrawn="1"/>
        </p:nvSpPr>
        <p:spPr>
          <a:xfrm>
            <a:off x="1911225" y="4263245"/>
            <a:ext cx="250295" cy="25029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865AC42E-D3D7-234E-BC23-EEFDB316CB6A}"/>
              </a:ext>
            </a:extLst>
          </p:cNvPr>
          <p:cNvSpPr/>
          <p:nvPr userDrawn="1"/>
        </p:nvSpPr>
        <p:spPr>
          <a:xfrm>
            <a:off x="1181952" y="3921754"/>
            <a:ext cx="250295" cy="25029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1A56F60C-E705-6640-B037-55CFAC03164B}"/>
              </a:ext>
            </a:extLst>
          </p:cNvPr>
          <p:cNvSpPr/>
          <p:nvPr userDrawn="1"/>
        </p:nvSpPr>
        <p:spPr>
          <a:xfrm>
            <a:off x="863947" y="3831745"/>
            <a:ext cx="229975" cy="229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11045D2-104B-8047-87DC-326D8C696859}"/>
              </a:ext>
            </a:extLst>
          </p:cNvPr>
          <p:cNvSpPr/>
          <p:nvPr userDrawn="1"/>
        </p:nvSpPr>
        <p:spPr>
          <a:xfrm>
            <a:off x="479425" y="3627051"/>
            <a:ext cx="229975" cy="229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096F0699-7456-E34D-82C4-AF3C144B1013}"/>
              </a:ext>
            </a:extLst>
          </p:cNvPr>
          <p:cNvSpPr/>
          <p:nvPr userDrawn="1"/>
        </p:nvSpPr>
        <p:spPr>
          <a:xfrm>
            <a:off x="564780" y="4065326"/>
            <a:ext cx="352131" cy="35213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092F809C-E8DB-D74E-A6DE-776708EBFCB7}"/>
              </a:ext>
            </a:extLst>
          </p:cNvPr>
          <p:cNvSpPr/>
          <p:nvPr userDrawn="1"/>
        </p:nvSpPr>
        <p:spPr>
          <a:xfrm>
            <a:off x="1586448" y="3292012"/>
            <a:ext cx="434579" cy="4345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69CF4C5C-E99F-3249-AA51-5EB2272CF75B}"/>
              </a:ext>
            </a:extLst>
          </p:cNvPr>
          <p:cNvSpPr/>
          <p:nvPr userDrawn="1"/>
        </p:nvSpPr>
        <p:spPr>
          <a:xfrm>
            <a:off x="585567" y="2744980"/>
            <a:ext cx="1000881" cy="100088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2B79DE5-3D6D-FE4E-AE9F-8B62ADE79979}"/>
              </a:ext>
            </a:extLst>
          </p:cNvPr>
          <p:cNvSpPr/>
          <p:nvPr userDrawn="1"/>
        </p:nvSpPr>
        <p:spPr>
          <a:xfrm>
            <a:off x="583483" y="2291799"/>
            <a:ext cx="461514" cy="46151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3EA0C45F-8E32-F546-AFC7-DB8154ED9CCB}"/>
              </a:ext>
            </a:extLst>
          </p:cNvPr>
          <p:cNvSpPr/>
          <p:nvPr userDrawn="1"/>
        </p:nvSpPr>
        <p:spPr>
          <a:xfrm>
            <a:off x="3158629" y="1695061"/>
            <a:ext cx="413231" cy="41323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ABA88D18-A68A-3346-81F3-41127C1737CA}"/>
              </a:ext>
            </a:extLst>
          </p:cNvPr>
          <p:cNvSpPr/>
          <p:nvPr userDrawn="1"/>
        </p:nvSpPr>
        <p:spPr>
          <a:xfrm>
            <a:off x="4433160" y="2064490"/>
            <a:ext cx="232706" cy="2327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19DAC2A7-39FA-0349-B395-E0C64B3AD7F5}"/>
              </a:ext>
            </a:extLst>
          </p:cNvPr>
          <p:cNvSpPr/>
          <p:nvPr userDrawn="1"/>
        </p:nvSpPr>
        <p:spPr>
          <a:xfrm>
            <a:off x="4758375" y="2182515"/>
            <a:ext cx="232706" cy="2327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D3A8AA4A-087F-0C4D-92E4-2E46CE332024}"/>
              </a:ext>
            </a:extLst>
          </p:cNvPr>
          <p:cNvSpPr/>
          <p:nvPr userDrawn="1"/>
        </p:nvSpPr>
        <p:spPr>
          <a:xfrm>
            <a:off x="3442301" y="1353887"/>
            <a:ext cx="357364" cy="3573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E12C8DDC-30EC-9644-B9B0-AB5005D2A43C}"/>
              </a:ext>
            </a:extLst>
          </p:cNvPr>
          <p:cNvSpPr/>
          <p:nvPr userDrawn="1"/>
        </p:nvSpPr>
        <p:spPr>
          <a:xfrm>
            <a:off x="2782003" y="1773919"/>
            <a:ext cx="284117" cy="2841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C8E8E46-EFEB-7045-B5B2-A4743594CDFD}"/>
              </a:ext>
            </a:extLst>
          </p:cNvPr>
          <p:cNvSpPr/>
          <p:nvPr userDrawn="1"/>
        </p:nvSpPr>
        <p:spPr>
          <a:xfrm>
            <a:off x="3123902" y="2182462"/>
            <a:ext cx="236999" cy="2369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27E6F338-A361-634E-84E2-EC03432DF841}"/>
              </a:ext>
            </a:extLst>
          </p:cNvPr>
          <p:cNvSpPr/>
          <p:nvPr userDrawn="1"/>
        </p:nvSpPr>
        <p:spPr>
          <a:xfrm>
            <a:off x="1859299" y="3030884"/>
            <a:ext cx="236999" cy="2369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46ADB1BA-028E-5346-AA32-A72852A2C420}"/>
              </a:ext>
            </a:extLst>
          </p:cNvPr>
          <p:cNvSpPr/>
          <p:nvPr userDrawn="1"/>
        </p:nvSpPr>
        <p:spPr>
          <a:xfrm>
            <a:off x="1674226" y="3019678"/>
            <a:ext cx="135809" cy="13580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99CBD03E-8468-164E-B23D-71FD0A380BF3}"/>
              </a:ext>
            </a:extLst>
          </p:cNvPr>
          <p:cNvSpPr/>
          <p:nvPr userDrawn="1"/>
        </p:nvSpPr>
        <p:spPr>
          <a:xfrm>
            <a:off x="3841185" y="3626908"/>
            <a:ext cx="135809" cy="13580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6438FA2-9D67-D941-8608-4ED76579ABE8}"/>
              </a:ext>
            </a:extLst>
          </p:cNvPr>
          <p:cNvSpPr/>
          <p:nvPr userDrawn="1"/>
        </p:nvSpPr>
        <p:spPr>
          <a:xfrm>
            <a:off x="2085332" y="1140031"/>
            <a:ext cx="468762" cy="4687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B24A4014-9E9B-B64A-BA5B-97572D826472}"/>
              </a:ext>
            </a:extLst>
          </p:cNvPr>
          <p:cNvSpPr/>
          <p:nvPr userDrawn="1"/>
        </p:nvSpPr>
        <p:spPr>
          <a:xfrm>
            <a:off x="2692786" y="1080106"/>
            <a:ext cx="618425" cy="61842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4DE2881B-C17D-9045-9608-F17523DE1170}"/>
              </a:ext>
            </a:extLst>
          </p:cNvPr>
          <p:cNvSpPr/>
          <p:nvPr userDrawn="1"/>
        </p:nvSpPr>
        <p:spPr>
          <a:xfrm>
            <a:off x="2446997" y="1630524"/>
            <a:ext cx="254251" cy="2542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645955B4-4DAD-1D4E-B25A-8186D472902C}"/>
              </a:ext>
            </a:extLst>
          </p:cNvPr>
          <p:cNvSpPr/>
          <p:nvPr userDrawn="1"/>
        </p:nvSpPr>
        <p:spPr>
          <a:xfrm>
            <a:off x="2242038" y="4232811"/>
            <a:ext cx="124114" cy="12411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04761376-E12C-F242-9B2D-02E289E1527A}"/>
              </a:ext>
            </a:extLst>
          </p:cNvPr>
          <p:cNvSpPr/>
          <p:nvPr userDrawn="1"/>
        </p:nvSpPr>
        <p:spPr>
          <a:xfrm>
            <a:off x="3721309" y="4541640"/>
            <a:ext cx="196808" cy="19680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E78D4000-21DD-3F4E-9FCA-870FE3F3842F}"/>
              </a:ext>
            </a:extLst>
          </p:cNvPr>
          <p:cNvSpPr/>
          <p:nvPr userDrawn="1"/>
        </p:nvSpPr>
        <p:spPr>
          <a:xfrm>
            <a:off x="3090449" y="5629292"/>
            <a:ext cx="220761" cy="2207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3D207688-F7CF-304A-A500-DB2C3C14F52E}"/>
              </a:ext>
            </a:extLst>
          </p:cNvPr>
          <p:cNvSpPr/>
          <p:nvPr userDrawn="1"/>
        </p:nvSpPr>
        <p:spPr>
          <a:xfrm>
            <a:off x="3980548" y="5481586"/>
            <a:ext cx="155769" cy="1557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9FD37114-4F44-A84C-8CF0-B45E5AB27C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99772" y="95848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ED1AD4D-5B1C-8643-892D-BF8307288E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99772" y="175552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3D55DE99-1533-8545-832E-1AA9AECB53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99772" y="215099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74A63A03-168A-D24A-AF03-C29FA0396F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99772" y="3473932"/>
            <a:ext cx="4209032" cy="594786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B569DDBF-7F44-0648-B9DF-AA6242A77C4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99772" y="4270978"/>
            <a:ext cx="4209032" cy="39546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951681BF-D14E-9F41-90AC-98BE3018DA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99772" y="4666447"/>
            <a:ext cx="4209032" cy="13212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53509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ogram +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C5DB054-2D0A-824A-B5B9-7AEA9A34E9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&amp; CONFIDENTI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0CE1A1-08E4-F04F-89CA-9BF80131B6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0060" y="908245"/>
            <a:ext cx="2833605" cy="24574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0A78A27-06D6-4D42-A3F1-4B3F9842BD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E060B54-A659-0A4B-9C6B-AFE62E6963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00938" y="535056"/>
            <a:ext cx="4211637" cy="591762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08F12A1-78CC-4E4A-82D9-5DC400F5D6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938" y="1437774"/>
            <a:ext cx="4211637" cy="2508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54958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Large Circl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07B7561-BC29-AC42-B289-CCC5C6B1C8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3258074" cy="365125"/>
          </a:xfrm>
        </p:spPr>
        <p:txBody>
          <a:bodyPr/>
          <a:lstStyle/>
          <a:p>
            <a:r>
              <a:rPr lang="en-US"/>
              <a:t>PRIVATE &amp; CONFIDENTIA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CFDEB8B-6F38-7A40-87C4-DE03F0016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AF92A81-F0A3-A248-AC14-262A89F8C162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480060" y="535056"/>
            <a:ext cx="4211637" cy="591762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2C69D90-C75B-DE49-9208-D359AA58A09F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80060" y="1437774"/>
            <a:ext cx="4211637" cy="205157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298B7A7-2F14-F644-BC42-053ED71EA4EB}"/>
              </a:ext>
            </a:extLst>
          </p:cNvPr>
          <p:cNvGrpSpPr/>
          <p:nvPr userDrawn="1"/>
        </p:nvGrpSpPr>
        <p:grpSpPr>
          <a:xfrm>
            <a:off x="0" y="3936907"/>
            <a:ext cx="12191999" cy="2224800"/>
            <a:chOff x="0" y="3936907"/>
            <a:chExt cx="12191999" cy="22248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F4A1BBE-6133-244F-BA63-EB29845F4A8B}"/>
                </a:ext>
              </a:extLst>
            </p:cNvPr>
            <p:cNvSpPr/>
            <p:nvPr userDrawn="1"/>
          </p:nvSpPr>
          <p:spPr>
            <a:xfrm>
              <a:off x="1655891" y="3936907"/>
              <a:ext cx="2223157" cy="2224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8811C22-3662-614A-BE82-7742C01ED99D}"/>
                </a:ext>
              </a:extLst>
            </p:cNvPr>
            <p:cNvSpPr/>
            <p:nvPr userDrawn="1"/>
          </p:nvSpPr>
          <p:spPr>
            <a:xfrm>
              <a:off x="3879061" y="3936907"/>
              <a:ext cx="2223157" cy="22248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ED07E9B-D25A-B54E-A4C5-9C7756275F16}"/>
                </a:ext>
              </a:extLst>
            </p:cNvPr>
            <p:cNvSpPr/>
            <p:nvPr userDrawn="1"/>
          </p:nvSpPr>
          <p:spPr>
            <a:xfrm>
              <a:off x="6102231" y="3936907"/>
              <a:ext cx="2223157" cy="22248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4B0EB3E-97FF-5D4D-B14A-1975A557CD73}"/>
                </a:ext>
              </a:extLst>
            </p:cNvPr>
            <p:cNvSpPr/>
            <p:nvPr userDrawn="1"/>
          </p:nvSpPr>
          <p:spPr>
            <a:xfrm>
              <a:off x="8325401" y="3936907"/>
              <a:ext cx="2223157" cy="22248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1C170C39-ACFB-2B49-BDCE-8E606FEA837E}"/>
                </a:ext>
              </a:extLst>
            </p:cNvPr>
            <p:cNvSpPr/>
            <p:nvPr userDrawn="1"/>
          </p:nvSpPr>
          <p:spPr>
            <a:xfrm>
              <a:off x="0" y="3936907"/>
              <a:ext cx="1655879" cy="2224800"/>
            </a:xfrm>
            <a:custGeom>
              <a:avLst/>
              <a:gdLst>
                <a:gd name="connsiteX0" fmla="*/ 544300 w 1655879"/>
                <a:gd name="connsiteY0" fmla="*/ 0 h 2224800"/>
                <a:gd name="connsiteX1" fmla="*/ 1655879 w 1655879"/>
                <a:gd name="connsiteY1" fmla="*/ 1112400 h 2224800"/>
                <a:gd name="connsiteX2" fmla="*/ 544300 w 1655879"/>
                <a:gd name="connsiteY2" fmla="*/ 2224800 h 2224800"/>
                <a:gd name="connsiteX3" fmla="*/ 14456 w 1655879"/>
                <a:gd name="connsiteY3" fmla="*/ 2090539 h 2224800"/>
                <a:gd name="connsiteX4" fmla="*/ 0 w 1655879"/>
                <a:gd name="connsiteY4" fmla="*/ 2081751 h 2224800"/>
                <a:gd name="connsiteX5" fmla="*/ 0 w 1655879"/>
                <a:gd name="connsiteY5" fmla="*/ 143050 h 2224800"/>
                <a:gd name="connsiteX6" fmla="*/ 14456 w 1655879"/>
                <a:gd name="connsiteY6" fmla="*/ 134261 h 2224800"/>
                <a:gd name="connsiteX7" fmla="*/ 544300 w 1655879"/>
                <a:gd name="connsiteY7" fmla="*/ 0 h 222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5879" h="2224800">
                  <a:moveTo>
                    <a:pt x="544300" y="0"/>
                  </a:moveTo>
                  <a:cubicBezTo>
                    <a:pt x="1158208" y="0"/>
                    <a:pt x="1655879" y="498038"/>
                    <a:pt x="1655879" y="1112400"/>
                  </a:cubicBezTo>
                  <a:cubicBezTo>
                    <a:pt x="1655879" y="1726762"/>
                    <a:pt x="1158208" y="2224800"/>
                    <a:pt x="544300" y="2224800"/>
                  </a:cubicBezTo>
                  <a:cubicBezTo>
                    <a:pt x="352454" y="2224800"/>
                    <a:pt x="171959" y="2176164"/>
                    <a:pt x="14456" y="2090539"/>
                  </a:cubicBezTo>
                  <a:lnTo>
                    <a:pt x="0" y="2081751"/>
                  </a:lnTo>
                  <a:lnTo>
                    <a:pt x="0" y="143050"/>
                  </a:lnTo>
                  <a:lnTo>
                    <a:pt x="14456" y="134261"/>
                  </a:lnTo>
                  <a:cubicBezTo>
                    <a:pt x="171959" y="48637"/>
                    <a:pt x="352454" y="0"/>
                    <a:pt x="54430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7CB8D7B9-59DF-9B44-8B33-BDBA1B331CB2}"/>
                </a:ext>
              </a:extLst>
            </p:cNvPr>
            <p:cNvSpPr/>
            <p:nvPr userDrawn="1"/>
          </p:nvSpPr>
          <p:spPr>
            <a:xfrm>
              <a:off x="10548569" y="3936907"/>
              <a:ext cx="1643430" cy="2224800"/>
            </a:xfrm>
            <a:custGeom>
              <a:avLst/>
              <a:gdLst>
                <a:gd name="connsiteX0" fmla="*/ 1111579 w 1643430"/>
                <a:gd name="connsiteY0" fmla="*/ 0 h 2224800"/>
                <a:gd name="connsiteX1" fmla="*/ 1641423 w 1643430"/>
                <a:gd name="connsiteY1" fmla="*/ 134261 h 2224800"/>
                <a:gd name="connsiteX2" fmla="*/ 1643430 w 1643430"/>
                <a:gd name="connsiteY2" fmla="*/ 135481 h 2224800"/>
                <a:gd name="connsiteX3" fmla="*/ 1643430 w 1643430"/>
                <a:gd name="connsiteY3" fmla="*/ 2089319 h 2224800"/>
                <a:gd name="connsiteX4" fmla="*/ 1641423 w 1643430"/>
                <a:gd name="connsiteY4" fmla="*/ 2090539 h 2224800"/>
                <a:gd name="connsiteX5" fmla="*/ 1111579 w 1643430"/>
                <a:gd name="connsiteY5" fmla="*/ 2224800 h 2224800"/>
                <a:gd name="connsiteX6" fmla="*/ 0 w 1643430"/>
                <a:gd name="connsiteY6" fmla="*/ 1112400 h 2224800"/>
                <a:gd name="connsiteX7" fmla="*/ 1111579 w 1643430"/>
                <a:gd name="connsiteY7" fmla="*/ 0 h 222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3430" h="2224800">
                  <a:moveTo>
                    <a:pt x="1111579" y="0"/>
                  </a:moveTo>
                  <a:cubicBezTo>
                    <a:pt x="1303425" y="0"/>
                    <a:pt x="1483920" y="48637"/>
                    <a:pt x="1641423" y="134261"/>
                  </a:cubicBezTo>
                  <a:lnTo>
                    <a:pt x="1643430" y="135481"/>
                  </a:lnTo>
                  <a:lnTo>
                    <a:pt x="1643430" y="2089319"/>
                  </a:lnTo>
                  <a:lnTo>
                    <a:pt x="1641423" y="2090539"/>
                  </a:lnTo>
                  <a:cubicBezTo>
                    <a:pt x="1483920" y="2176164"/>
                    <a:pt x="1303425" y="2224800"/>
                    <a:pt x="1111579" y="2224800"/>
                  </a:cubicBezTo>
                  <a:cubicBezTo>
                    <a:pt x="497671" y="2224800"/>
                    <a:pt x="0" y="1726762"/>
                    <a:pt x="0" y="1112400"/>
                  </a:cubicBezTo>
                  <a:cubicBezTo>
                    <a:pt x="0" y="498038"/>
                    <a:pt x="497671" y="0"/>
                    <a:pt x="1111579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87251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Circles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BA82302-C2F3-224D-9776-12CAEDECAF7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325744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30B3DC06-59FB-EE4F-A730-911D0B7DA18C}"/>
              </a:ext>
            </a:extLst>
          </p:cNvPr>
          <p:cNvSpPr/>
          <p:nvPr userDrawn="1"/>
        </p:nvSpPr>
        <p:spPr>
          <a:xfrm>
            <a:off x="0" y="3723003"/>
            <a:ext cx="1144549" cy="2224800"/>
          </a:xfrm>
          <a:custGeom>
            <a:avLst/>
            <a:gdLst>
              <a:gd name="connsiteX0" fmla="*/ 32970 w 1144549"/>
              <a:gd name="connsiteY0" fmla="*/ 0 h 2224800"/>
              <a:gd name="connsiteX1" fmla="*/ 1144549 w 1144549"/>
              <a:gd name="connsiteY1" fmla="*/ 1112400 h 2224800"/>
              <a:gd name="connsiteX2" fmla="*/ 32970 w 1144549"/>
              <a:gd name="connsiteY2" fmla="*/ 2224800 h 2224800"/>
              <a:gd name="connsiteX3" fmla="*/ 0 w 1144549"/>
              <a:gd name="connsiteY3" fmla="*/ 2223134 h 2224800"/>
              <a:gd name="connsiteX4" fmla="*/ 0 w 1144549"/>
              <a:gd name="connsiteY4" fmla="*/ 1666 h 2224800"/>
              <a:gd name="connsiteX5" fmla="*/ 32970 w 1144549"/>
              <a:gd name="connsiteY5" fmla="*/ 0 h 222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4549" h="2224800">
                <a:moveTo>
                  <a:pt x="32970" y="0"/>
                </a:moveTo>
                <a:cubicBezTo>
                  <a:pt x="646878" y="0"/>
                  <a:pt x="1144549" y="498038"/>
                  <a:pt x="1144549" y="1112400"/>
                </a:cubicBezTo>
                <a:cubicBezTo>
                  <a:pt x="1144549" y="1726762"/>
                  <a:pt x="646878" y="2224800"/>
                  <a:pt x="32970" y="2224800"/>
                </a:cubicBezTo>
                <a:lnTo>
                  <a:pt x="0" y="2223134"/>
                </a:lnTo>
                <a:lnTo>
                  <a:pt x="0" y="1666"/>
                </a:lnTo>
                <a:lnTo>
                  <a:pt x="3297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DDF5F8C-5779-324B-9896-2777291E7075}"/>
              </a:ext>
            </a:extLst>
          </p:cNvPr>
          <p:cNvSpPr/>
          <p:nvPr userDrawn="1"/>
        </p:nvSpPr>
        <p:spPr>
          <a:xfrm>
            <a:off x="4686122" y="3565607"/>
            <a:ext cx="1432560" cy="14325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612C877-5DBF-3B44-BC50-196C86F0B01E}"/>
              </a:ext>
            </a:extLst>
          </p:cNvPr>
          <p:cNvSpPr/>
          <p:nvPr userDrawn="1"/>
        </p:nvSpPr>
        <p:spPr>
          <a:xfrm>
            <a:off x="4462812" y="1664303"/>
            <a:ext cx="753506" cy="75350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927B426D-DF64-FA4F-BA26-CF11F8040BE5}"/>
              </a:ext>
            </a:extLst>
          </p:cNvPr>
          <p:cNvSpPr/>
          <p:nvPr userDrawn="1"/>
        </p:nvSpPr>
        <p:spPr>
          <a:xfrm>
            <a:off x="5225600" y="1543718"/>
            <a:ext cx="927906" cy="9279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A7C707D-2115-3E48-A310-D15D1304197C}"/>
              </a:ext>
            </a:extLst>
          </p:cNvPr>
          <p:cNvSpPr/>
          <p:nvPr userDrawn="1"/>
        </p:nvSpPr>
        <p:spPr>
          <a:xfrm>
            <a:off x="2346261" y="4785899"/>
            <a:ext cx="1432560" cy="14325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E5A050C0-A12B-E04A-8CA8-464A257D2C40}"/>
              </a:ext>
            </a:extLst>
          </p:cNvPr>
          <p:cNvSpPr/>
          <p:nvPr userDrawn="1"/>
        </p:nvSpPr>
        <p:spPr>
          <a:xfrm>
            <a:off x="4398998" y="230806"/>
            <a:ext cx="1206968" cy="12069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EF8C3D3-7704-DA4E-9A23-40B935D8A5E9}"/>
              </a:ext>
            </a:extLst>
          </p:cNvPr>
          <p:cNvSpPr/>
          <p:nvPr userDrawn="1"/>
        </p:nvSpPr>
        <p:spPr>
          <a:xfrm>
            <a:off x="5604783" y="135560"/>
            <a:ext cx="548723" cy="54872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084D9F6-6EDB-2244-A636-E5F6A5266186}"/>
              </a:ext>
            </a:extLst>
          </p:cNvPr>
          <p:cNvSpPr/>
          <p:nvPr userDrawn="1"/>
        </p:nvSpPr>
        <p:spPr>
          <a:xfrm>
            <a:off x="3232163" y="1277902"/>
            <a:ext cx="258860" cy="2588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3E0E38A-EF8A-B34D-9A18-0BC329FEED94}"/>
              </a:ext>
            </a:extLst>
          </p:cNvPr>
          <p:cNvSpPr/>
          <p:nvPr userDrawn="1"/>
        </p:nvSpPr>
        <p:spPr>
          <a:xfrm>
            <a:off x="1656977" y="2030984"/>
            <a:ext cx="689284" cy="68928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" name="Freeform 73">
            <a:extLst>
              <a:ext uri="{FF2B5EF4-FFF2-40B4-BE49-F238E27FC236}">
                <a16:creationId xmlns:a16="http://schemas.microsoft.com/office/drawing/2014/main" id="{B6E4CACF-9208-094A-B345-40F0F52839D3}"/>
              </a:ext>
            </a:extLst>
          </p:cNvPr>
          <p:cNvSpPr/>
          <p:nvPr userDrawn="1"/>
        </p:nvSpPr>
        <p:spPr>
          <a:xfrm>
            <a:off x="2467253" y="0"/>
            <a:ext cx="1106016" cy="786000"/>
          </a:xfrm>
          <a:custGeom>
            <a:avLst/>
            <a:gdLst>
              <a:gd name="connsiteX0" fmla="*/ 53085 w 1106016"/>
              <a:gd name="connsiteY0" fmla="*/ 0 h 786000"/>
              <a:gd name="connsiteX1" fmla="*/ 1052931 w 1106016"/>
              <a:gd name="connsiteY1" fmla="*/ 0 h 786000"/>
              <a:gd name="connsiteX2" fmla="*/ 1062558 w 1106016"/>
              <a:gd name="connsiteY2" fmla="*/ 17736 h 786000"/>
              <a:gd name="connsiteX3" fmla="*/ 1106016 w 1106016"/>
              <a:gd name="connsiteY3" fmla="*/ 232992 h 786000"/>
              <a:gd name="connsiteX4" fmla="*/ 553008 w 1106016"/>
              <a:gd name="connsiteY4" fmla="*/ 786000 h 786000"/>
              <a:gd name="connsiteX5" fmla="*/ 0 w 1106016"/>
              <a:gd name="connsiteY5" fmla="*/ 232992 h 786000"/>
              <a:gd name="connsiteX6" fmla="*/ 43458 w 1106016"/>
              <a:gd name="connsiteY6" fmla="*/ 17736 h 786000"/>
              <a:gd name="connsiteX7" fmla="*/ 53085 w 1106016"/>
              <a:gd name="connsiteY7" fmla="*/ 0 h 7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06016" h="786000">
                <a:moveTo>
                  <a:pt x="53085" y="0"/>
                </a:moveTo>
                <a:lnTo>
                  <a:pt x="1052931" y="0"/>
                </a:lnTo>
                <a:lnTo>
                  <a:pt x="1062558" y="17736"/>
                </a:lnTo>
                <a:cubicBezTo>
                  <a:pt x="1090542" y="83897"/>
                  <a:pt x="1106016" y="156637"/>
                  <a:pt x="1106016" y="232992"/>
                </a:cubicBezTo>
                <a:cubicBezTo>
                  <a:pt x="1106016" y="538410"/>
                  <a:pt x="858426" y="786000"/>
                  <a:pt x="553008" y="786000"/>
                </a:cubicBezTo>
                <a:cubicBezTo>
                  <a:pt x="247590" y="786000"/>
                  <a:pt x="0" y="538410"/>
                  <a:pt x="0" y="232992"/>
                </a:cubicBezTo>
                <a:cubicBezTo>
                  <a:pt x="0" y="156637"/>
                  <a:pt x="15475" y="83897"/>
                  <a:pt x="43458" y="17736"/>
                </a:cubicBezTo>
                <a:lnTo>
                  <a:pt x="53085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0139B44F-504A-3643-9E14-BAD85EF673C8}"/>
              </a:ext>
            </a:extLst>
          </p:cNvPr>
          <p:cNvSpPr/>
          <p:nvPr userDrawn="1"/>
        </p:nvSpPr>
        <p:spPr>
          <a:xfrm>
            <a:off x="5032731" y="-1353"/>
            <a:ext cx="824746" cy="531027"/>
          </a:xfrm>
          <a:custGeom>
            <a:avLst/>
            <a:gdLst>
              <a:gd name="connsiteX0" fmla="*/ 19412 w 824746"/>
              <a:gd name="connsiteY0" fmla="*/ 0 h 531027"/>
              <a:gd name="connsiteX1" fmla="*/ 805334 w 824746"/>
              <a:gd name="connsiteY1" fmla="*/ 0 h 531027"/>
              <a:gd name="connsiteX2" fmla="*/ 816368 w 824746"/>
              <a:gd name="connsiteY2" fmla="*/ 35547 h 531027"/>
              <a:gd name="connsiteX3" fmla="*/ 824746 w 824746"/>
              <a:gd name="connsiteY3" fmla="*/ 118654 h 531027"/>
              <a:gd name="connsiteX4" fmla="*/ 412373 w 824746"/>
              <a:gd name="connsiteY4" fmla="*/ 531027 h 531027"/>
              <a:gd name="connsiteX5" fmla="*/ 0 w 824746"/>
              <a:gd name="connsiteY5" fmla="*/ 118654 h 531027"/>
              <a:gd name="connsiteX6" fmla="*/ 8378 w 824746"/>
              <a:gd name="connsiteY6" fmla="*/ 35547 h 531027"/>
              <a:gd name="connsiteX7" fmla="*/ 19412 w 824746"/>
              <a:gd name="connsiteY7" fmla="*/ 0 h 531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746" h="531027">
                <a:moveTo>
                  <a:pt x="19412" y="0"/>
                </a:moveTo>
                <a:lnTo>
                  <a:pt x="805334" y="0"/>
                </a:lnTo>
                <a:lnTo>
                  <a:pt x="816368" y="35547"/>
                </a:lnTo>
                <a:cubicBezTo>
                  <a:pt x="821861" y="62391"/>
                  <a:pt x="824746" y="90186"/>
                  <a:pt x="824746" y="118654"/>
                </a:cubicBezTo>
                <a:cubicBezTo>
                  <a:pt x="824746" y="346401"/>
                  <a:pt x="640120" y="531027"/>
                  <a:pt x="412373" y="531027"/>
                </a:cubicBezTo>
                <a:cubicBezTo>
                  <a:pt x="184626" y="531027"/>
                  <a:pt x="0" y="346401"/>
                  <a:pt x="0" y="118654"/>
                </a:cubicBezTo>
                <a:cubicBezTo>
                  <a:pt x="0" y="90186"/>
                  <a:pt x="2885" y="62391"/>
                  <a:pt x="8378" y="35547"/>
                </a:cubicBezTo>
                <a:lnTo>
                  <a:pt x="1941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Freeform 70">
            <a:extLst>
              <a:ext uri="{FF2B5EF4-FFF2-40B4-BE49-F238E27FC236}">
                <a16:creationId xmlns:a16="http://schemas.microsoft.com/office/drawing/2014/main" id="{BEC0AD81-72D6-9645-9E23-31041CDD931B}"/>
              </a:ext>
            </a:extLst>
          </p:cNvPr>
          <p:cNvSpPr/>
          <p:nvPr userDrawn="1"/>
        </p:nvSpPr>
        <p:spPr>
          <a:xfrm>
            <a:off x="0" y="3804845"/>
            <a:ext cx="863575" cy="1193322"/>
          </a:xfrm>
          <a:custGeom>
            <a:avLst/>
            <a:gdLst>
              <a:gd name="connsiteX0" fmla="*/ 266914 w 863575"/>
              <a:gd name="connsiteY0" fmla="*/ 0 h 1193322"/>
              <a:gd name="connsiteX1" fmla="*/ 863575 w 863575"/>
              <a:gd name="connsiteY1" fmla="*/ 596661 h 1193322"/>
              <a:gd name="connsiteX2" fmla="*/ 266914 w 863575"/>
              <a:gd name="connsiteY2" fmla="*/ 1193322 h 1193322"/>
              <a:gd name="connsiteX3" fmla="*/ 34667 w 863575"/>
              <a:gd name="connsiteY3" fmla="*/ 1146433 h 1193322"/>
              <a:gd name="connsiteX4" fmla="*/ 0 w 863575"/>
              <a:gd name="connsiteY4" fmla="*/ 1127617 h 1193322"/>
              <a:gd name="connsiteX5" fmla="*/ 0 w 863575"/>
              <a:gd name="connsiteY5" fmla="*/ 65705 h 1193322"/>
              <a:gd name="connsiteX6" fmla="*/ 34667 w 863575"/>
              <a:gd name="connsiteY6" fmla="*/ 46889 h 1193322"/>
              <a:gd name="connsiteX7" fmla="*/ 266914 w 863575"/>
              <a:gd name="connsiteY7" fmla="*/ 0 h 1193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3575" h="1193322">
                <a:moveTo>
                  <a:pt x="266914" y="0"/>
                </a:moveTo>
                <a:cubicBezTo>
                  <a:pt x="596441" y="0"/>
                  <a:pt x="863575" y="267134"/>
                  <a:pt x="863575" y="596661"/>
                </a:cubicBezTo>
                <a:cubicBezTo>
                  <a:pt x="863575" y="926188"/>
                  <a:pt x="596441" y="1193322"/>
                  <a:pt x="266914" y="1193322"/>
                </a:cubicBezTo>
                <a:cubicBezTo>
                  <a:pt x="184532" y="1193322"/>
                  <a:pt x="106050" y="1176626"/>
                  <a:pt x="34667" y="1146433"/>
                </a:cubicBezTo>
                <a:lnTo>
                  <a:pt x="0" y="1127617"/>
                </a:lnTo>
                <a:lnTo>
                  <a:pt x="0" y="65705"/>
                </a:lnTo>
                <a:lnTo>
                  <a:pt x="34667" y="46889"/>
                </a:lnTo>
                <a:cubicBezTo>
                  <a:pt x="106050" y="16696"/>
                  <a:pt x="184532" y="0"/>
                  <a:pt x="26691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Freeform 69">
            <a:extLst>
              <a:ext uri="{FF2B5EF4-FFF2-40B4-BE49-F238E27FC236}">
                <a16:creationId xmlns:a16="http://schemas.microsoft.com/office/drawing/2014/main" id="{CAF7B0BD-A0FB-4140-9BE6-8B9CD5E17013}"/>
              </a:ext>
            </a:extLst>
          </p:cNvPr>
          <p:cNvSpPr/>
          <p:nvPr userDrawn="1"/>
        </p:nvSpPr>
        <p:spPr>
          <a:xfrm>
            <a:off x="7235915" y="5695602"/>
            <a:ext cx="1432560" cy="1162398"/>
          </a:xfrm>
          <a:custGeom>
            <a:avLst/>
            <a:gdLst>
              <a:gd name="connsiteX0" fmla="*/ 716280 w 1432560"/>
              <a:gd name="connsiteY0" fmla="*/ 0 h 1162398"/>
              <a:gd name="connsiteX1" fmla="*/ 1432560 w 1432560"/>
              <a:gd name="connsiteY1" fmla="*/ 716280 h 1162398"/>
              <a:gd name="connsiteX2" fmla="*/ 1310231 w 1432560"/>
              <a:gd name="connsiteY2" fmla="*/ 1116759 h 1162398"/>
              <a:gd name="connsiteX3" fmla="*/ 1272576 w 1432560"/>
              <a:gd name="connsiteY3" fmla="*/ 1162398 h 1162398"/>
              <a:gd name="connsiteX4" fmla="*/ 159985 w 1432560"/>
              <a:gd name="connsiteY4" fmla="*/ 1162398 h 1162398"/>
              <a:gd name="connsiteX5" fmla="*/ 122329 w 1432560"/>
              <a:gd name="connsiteY5" fmla="*/ 1116759 h 1162398"/>
              <a:gd name="connsiteX6" fmla="*/ 0 w 1432560"/>
              <a:gd name="connsiteY6" fmla="*/ 716280 h 1162398"/>
              <a:gd name="connsiteX7" fmla="*/ 716280 w 1432560"/>
              <a:gd name="connsiteY7" fmla="*/ 0 h 116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32560" h="1162398">
                <a:moveTo>
                  <a:pt x="716280" y="0"/>
                </a:moveTo>
                <a:cubicBezTo>
                  <a:pt x="1111871" y="0"/>
                  <a:pt x="1432560" y="320689"/>
                  <a:pt x="1432560" y="716280"/>
                </a:cubicBezTo>
                <a:cubicBezTo>
                  <a:pt x="1432560" y="864627"/>
                  <a:pt x="1387463" y="1002440"/>
                  <a:pt x="1310231" y="1116759"/>
                </a:cubicBezTo>
                <a:lnTo>
                  <a:pt x="1272576" y="1162398"/>
                </a:lnTo>
                <a:lnTo>
                  <a:pt x="159985" y="1162398"/>
                </a:lnTo>
                <a:lnTo>
                  <a:pt x="122329" y="1116759"/>
                </a:lnTo>
                <a:cubicBezTo>
                  <a:pt x="45097" y="1002440"/>
                  <a:pt x="0" y="864627"/>
                  <a:pt x="0" y="716280"/>
                </a:cubicBezTo>
                <a:cubicBezTo>
                  <a:pt x="0" y="320689"/>
                  <a:pt x="320689" y="0"/>
                  <a:pt x="71628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B42D3D1-8FA9-CC47-BC04-41214F90B475}"/>
              </a:ext>
            </a:extLst>
          </p:cNvPr>
          <p:cNvSpPr/>
          <p:nvPr userDrawn="1"/>
        </p:nvSpPr>
        <p:spPr>
          <a:xfrm>
            <a:off x="6746894" y="5559914"/>
            <a:ext cx="829636" cy="82963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181460B-D32B-7F4A-9DC2-C60183C4E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F761C15-8FC1-6E4C-B034-94E0974F76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00938" y="535056"/>
            <a:ext cx="4211637" cy="591762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D9CD1FB-6EC5-D440-9991-E43C7B11EB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938" y="1437774"/>
            <a:ext cx="4211637" cy="2508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84159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Circl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8AECBAF9-5884-DF47-95C3-55525432EB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3257440" cy="365125"/>
          </a:xfrm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DDF5F8C-5779-324B-9896-2777291E7075}"/>
              </a:ext>
            </a:extLst>
          </p:cNvPr>
          <p:cNvSpPr/>
          <p:nvPr userDrawn="1"/>
        </p:nvSpPr>
        <p:spPr>
          <a:xfrm>
            <a:off x="4686122" y="3565607"/>
            <a:ext cx="1432560" cy="14325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612C877-5DBF-3B44-BC50-196C86F0B01E}"/>
              </a:ext>
            </a:extLst>
          </p:cNvPr>
          <p:cNvSpPr/>
          <p:nvPr userDrawn="1"/>
        </p:nvSpPr>
        <p:spPr>
          <a:xfrm>
            <a:off x="4462812" y="1664303"/>
            <a:ext cx="753506" cy="75350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927B426D-DF64-FA4F-BA26-CF11F8040BE5}"/>
              </a:ext>
            </a:extLst>
          </p:cNvPr>
          <p:cNvSpPr/>
          <p:nvPr userDrawn="1"/>
        </p:nvSpPr>
        <p:spPr>
          <a:xfrm>
            <a:off x="5225600" y="1543718"/>
            <a:ext cx="927906" cy="92790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A7C707D-2115-3E48-A310-D15D1304197C}"/>
              </a:ext>
            </a:extLst>
          </p:cNvPr>
          <p:cNvSpPr/>
          <p:nvPr userDrawn="1"/>
        </p:nvSpPr>
        <p:spPr>
          <a:xfrm>
            <a:off x="2346261" y="4785899"/>
            <a:ext cx="1432560" cy="14325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E5A050C0-A12B-E04A-8CA8-464A257D2C40}"/>
              </a:ext>
            </a:extLst>
          </p:cNvPr>
          <p:cNvSpPr/>
          <p:nvPr userDrawn="1"/>
        </p:nvSpPr>
        <p:spPr>
          <a:xfrm>
            <a:off x="4398998" y="230806"/>
            <a:ext cx="1206968" cy="120696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EF8C3D3-7704-DA4E-9A23-40B935D8A5E9}"/>
              </a:ext>
            </a:extLst>
          </p:cNvPr>
          <p:cNvSpPr/>
          <p:nvPr userDrawn="1"/>
        </p:nvSpPr>
        <p:spPr>
          <a:xfrm>
            <a:off x="5604783" y="135560"/>
            <a:ext cx="548723" cy="54872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084D9F6-6EDB-2244-A636-E5F6A5266186}"/>
              </a:ext>
            </a:extLst>
          </p:cNvPr>
          <p:cNvSpPr/>
          <p:nvPr userDrawn="1"/>
        </p:nvSpPr>
        <p:spPr>
          <a:xfrm>
            <a:off x="3232163" y="1277902"/>
            <a:ext cx="258860" cy="25886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3E0E38A-EF8A-B34D-9A18-0BC329FEED94}"/>
              </a:ext>
            </a:extLst>
          </p:cNvPr>
          <p:cNvSpPr/>
          <p:nvPr userDrawn="1"/>
        </p:nvSpPr>
        <p:spPr>
          <a:xfrm>
            <a:off x="1656977" y="2030984"/>
            <a:ext cx="689284" cy="68928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" name="Freeform 73">
            <a:extLst>
              <a:ext uri="{FF2B5EF4-FFF2-40B4-BE49-F238E27FC236}">
                <a16:creationId xmlns:a16="http://schemas.microsoft.com/office/drawing/2014/main" id="{B6E4CACF-9208-094A-B345-40F0F52839D3}"/>
              </a:ext>
            </a:extLst>
          </p:cNvPr>
          <p:cNvSpPr/>
          <p:nvPr userDrawn="1"/>
        </p:nvSpPr>
        <p:spPr>
          <a:xfrm>
            <a:off x="2467253" y="0"/>
            <a:ext cx="1106016" cy="786000"/>
          </a:xfrm>
          <a:custGeom>
            <a:avLst/>
            <a:gdLst>
              <a:gd name="connsiteX0" fmla="*/ 53085 w 1106016"/>
              <a:gd name="connsiteY0" fmla="*/ 0 h 786000"/>
              <a:gd name="connsiteX1" fmla="*/ 1052931 w 1106016"/>
              <a:gd name="connsiteY1" fmla="*/ 0 h 786000"/>
              <a:gd name="connsiteX2" fmla="*/ 1062558 w 1106016"/>
              <a:gd name="connsiteY2" fmla="*/ 17736 h 786000"/>
              <a:gd name="connsiteX3" fmla="*/ 1106016 w 1106016"/>
              <a:gd name="connsiteY3" fmla="*/ 232992 h 786000"/>
              <a:gd name="connsiteX4" fmla="*/ 553008 w 1106016"/>
              <a:gd name="connsiteY4" fmla="*/ 786000 h 786000"/>
              <a:gd name="connsiteX5" fmla="*/ 0 w 1106016"/>
              <a:gd name="connsiteY5" fmla="*/ 232992 h 786000"/>
              <a:gd name="connsiteX6" fmla="*/ 43458 w 1106016"/>
              <a:gd name="connsiteY6" fmla="*/ 17736 h 786000"/>
              <a:gd name="connsiteX7" fmla="*/ 53085 w 1106016"/>
              <a:gd name="connsiteY7" fmla="*/ 0 h 7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06016" h="786000">
                <a:moveTo>
                  <a:pt x="53085" y="0"/>
                </a:moveTo>
                <a:lnTo>
                  <a:pt x="1052931" y="0"/>
                </a:lnTo>
                <a:lnTo>
                  <a:pt x="1062558" y="17736"/>
                </a:lnTo>
                <a:cubicBezTo>
                  <a:pt x="1090542" y="83897"/>
                  <a:pt x="1106016" y="156637"/>
                  <a:pt x="1106016" y="232992"/>
                </a:cubicBezTo>
                <a:cubicBezTo>
                  <a:pt x="1106016" y="538410"/>
                  <a:pt x="858426" y="786000"/>
                  <a:pt x="553008" y="786000"/>
                </a:cubicBezTo>
                <a:cubicBezTo>
                  <a:pt x="247590" y="786000"/>
                  <a:pt x="0" y="538410"/>
                  <a:pt x="0" y="232992"/>
                </a:cubicBezTo>
                <a:cubicBezTo>
                  <a:pt x="0" y="156637"/>
                  <a:pt x="15475" y="83897"/>
                  <a:pt x="43458" y="17736"/>
                </a:cubicBezTo>
                <a:lnTo>
                  <a:pt x="53085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0139B44F-504A-3643-9E14-BAD85EF673C8}"/>
              </a:ext>
            </a:extLst>
          </p:cNvPr>
          <p:cNvSpPr/>
          <p:nvPr userDrawn="1"/>
        </p:nvSpPr>
        <p:spPr>
          <a:xfrm>
            <a:off x="5032731" y="-1353"/>
            <a:ext cx="824746" cy="531027"/>
          </a:xfrm>
          <a:custGeom>
            <a:avLst/>
            <a:gdLst>
              <a:gd name="connsiteX0" fmla="*/ 19412 w 824746"/>
              <a:gd name="connsiteY0" fmla="*/ 0 h 531027"/>
              <a:gd name="connsiteX1" fmla="*/ 805334 w 824746"/>
              <a:gd name="connsiteY1" fmla="*/ 0 h 531027"/>
              <a:gd name="connsiteX2" fmla="*/ 816368 w 824746"/>
              <a:gd name="connsiteY2" fmla="*/ 35547 h 531027"/>
              <a:gd name="connsiteX3" fmla="*/ 824746 w 824746"/>
              <a:gd name="connsiteY3" fmla="*/ 118654 h 531027"/>
              <a:gd name="connsiteX4" fmla="*/ 412373 w 824746"/>
              <a:gd name="connsiteY4" fmla="*/ 531027 h 531027"/>
              <a:gd name="connsiteX5" fmla="*/ 0 w 824746"/>
              <a:gd name="connsiteY5" fmla="*/ 118654 h 531027"/>
              <a:gd name="connsiteX6" fmla="*/ 8378 w 824746"/>
              <a:gd name="connsiteY6" fmla="*/ 35547 h 531027"/>
              <a:gd name="connsiteX7" fmla="*/ 19412 w 824746"/>
              <a:gd name="connsiteY7" fmla="*/ 0 h 531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746" h="531027">
                <a:moveTo>
                  <a:pt x="19412" y="0"/>
                </a:moveTo>
                <a:lnTo>
                  <a:pt x="805334" y="0"/>
                </a:lnTo>
                <a:lnTo>
                  <a:pt x="816368" y="35547"/>
                </a:lnTo>
                <a:cubicBezTo>
                  <a:pt x="821861" y="62391"/>
                  <a:pt x="824746" y="90186"/>
                  <a:pt x="824746" y="118654"/>
                </a:cubicBezTo>
                <a:cubicBezTo>
                  <a:pt x="824746" y="346401"/>
                  <a:pt x="640120" y="531027"/>
                  <a:pt x="412373" y="531027"/>
                </a:cubicBezTo>
                <a:cubicBezTo>
                  <a:pt x="184626" y="531027"/>
                  <a:pt x="0" y="346401"/>
                  <a:pt x="0" y="118654"/>
                </a:cubicBezTo>
                <a:cubicBezTo>
                  <a:pt x="0" y="90186"/>
                  <a:pt x="2885" y="62391"/>
                  <a:pt x="8378" y="35547"/>
                </a:cubicBezTo>
                <a:lnTo>
                  <a:pt x="1941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Freeform 70">
            <a:extLst>
              <a:ext uri="{FF2B5EF4-FFF2-40B4-BE49-F238E27FC236}">
                <a16:creationId xmlns:a16="http://schemas.microsoft.com/office/drawing/2014/main" id="{BEC0AD81-72D6-9645-9E23-31041CDD931B}"/>
              </a:ext>
            </a:extLst>
          </p:cNvPr>
          <p:cNvSpPr/>
          <p:nvPr userDrawn="1"/>
        </p:nvSpPr>
        <p:spPr>
          <a:xfrm>
            <a:off x="0" y="3804845"/>
            <a:ext cx="863575" cy="1193322"/>
          </a:xfrm>
          <a:custGeom>
            <a:avLst/>
            <a:gdLst>
              <a:gd name="connsiteX0" fmla="*/ 266914 w 863575"/>
              <a:gd name="connsiteY0" fmla="*/ 0 h 1193322"/>
              <a:gd name="connsiteX1" fmla="*/ 863575 w 863575"/>
              <a:gd name="connsiteY1" fmla="*/ 596661 h 1193322"/>
              <a:gd name="connsiteX2" fmla="*/ 266914 w 863575"/>
              <a:gd name="connsiteY2" fmla="*/ 1193322 h 1193322"/>
              <a:gd name="connsiteX3" fmla="*/ 34667 w 863575"/>
              <a:gd name="connsiteY3" fmla="*/ 1146433 h 1193322"/>
              <a:gd name="connsiteX4" fmla="*/ 0 w 863575"/>
              <a:gd name="connsiteY4" fmla="*/ 1127617 h 1193322"/>
              <a:gd name="connsiteX5" fmla="*/ 0 w 863575"/>
              <a:gd name="connsiteY5" fmla="*/ 65705 h 1193322"/>
              <a:gd name="connsiteX6" fmla="*/ 34667 w 863575"/>
              <a:gd name="connsiteY6" fmla="*/ 46889 h 1193322"/>
              <a:gd name="connsiteX7" fmla="*/ 266914 w 863575"/>
              <a:gd name="connsiteY7" fmla="*/ 0 h 1193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3575" h="1193322">
                <a:moveTo>
                  <a:pt x="266914" y="0"/>
                </a:moveTo>
                <a:cubicBezTo>
                  <a:pt x="596441" y="0"/>
                  <a:pt x="863575" y="267134"/>
                  <a:pt x="863575" y="596661"/>
                </a:cubicBezTo>
                <a:cubicBezTo>
                  <a:pt x="863575" y="926188"/>
                  <a:pt x="596441" y="1193322"/>
                  <a:pt x="266914" y="1193322"/>
                </a:cubicBezTo>
                <a:cubicBezTo>
                  <a:pt x="184532" y="1193322"/>
                  <a:pt x="106050" y="1176626"/>
                  <a:pt x="34667" y="1146433"/>
                </a:cubicBezTo>
                <a:lnTo>
                  <a:pt x="0" y="1127617"/>
                </a:lnTo>
                <a:lnTo>
                  <a:pt x="0" y="65705"/>
                </a:lnTo>
                <a:lnTo>
                  <a:pt x="34667" y="46889"/>
                </a:lnTo>
                <a:cubicBezTo>
                  <a:pt x="106050" y="16696"/>
                  <a:pt x="184532" y="0"/>
                  <a:pt x="26691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Freeform 69">
            <a:extLst>
              <a:ext uri="{FF2B5EF4-FFF2-40B4-BE49-F238E27FC236}">
                <a16:creationId xmlns:a16="http://schemas.microsoft.com/office/drawing/2014/main" id="{CAF7B0BD-A0FB-4140-9BE6-8B9CD5E17013}"/>
              </a:ext>
            </a:extLst>
          </p:cNvPr>
          <p:cNvSpPr/>
          <p:nvPr userDrawn="1"/>
        </p:nvSpPr>
        <p:spPr>
          <a:xfrm>
            <a:off x="7235915" y="5695602"/>
            <a:ext cx="1432560" cy="1162398"/>
          </a:xfrm>
          <a:custGeom>
            <a:avLst/>
            <a:gdLst>
              <a:gd name="connsiteX0" fmla="*/ 716280 w 1432560"/>
              <a:gd name="connsiteY0" fmla="*/ 0 h 1162398"/>
              <a:gd name="connsiteX1" fmla="*/ 1432560 w 1432560"/>
              <a:gd name="connsiteY1" fmla="*/ 716280 h 1162398"/>
              <a:gd name="connsiteX2" fmla="*/ 1310231 w 1432560"/>
              <a:gd name="connsiteY2" fmla="*/ 1116759 h 1162398"/>
              <a:gd name="connsiteX3" fmla="*/ 1272576 w 1432560"/>
              <a:gd name="connsiteY3" fmla="*/ 1162398 h 1162398"/>
              <a:gd name="connsiteX4" fmla="*/ 159985 w 1432560"/>
              <a:gd name="connsiteY4" fmla="*/ 1162398 h 1162398"/>
              <a:gd name="connsiteX5" fmla="*/ 122329 w 1432560"/>
              <a:gd name="connsiteY5" fmla="*/ 1116759 h 1162398"/>
              <a:gd name="connsiteX6" fmla="*/ 0 w 1432560"/>
              <a:gd name="connsiteY6" fmla="*/ 716280 h 1162398"/>
              <a:gd name="connsiteX7" fmla="*/ 716280 w 1432560"/>
              <a:gd name="connsiteY7" fmla="*/ 0 h 116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32560" h="1162398">
                <a:moveTo>
                  <a:pt x="716280" y="0"/>
                </a:moveTo>
                <a:cubicBezTo>
                  <a:pt x="1111871" y="0"/>
                  <a:pt x="1432560" y="320689"/>
                  <a:pt x="1432560" y="716280"/>
                </a:cubicBezTo>
                <a:cubicBezTo>
                  <a:pt x="1432560" y="864627"/>
                  <a:pt x="1387463" y="1002440"/>
                  <a:pt x="1310231" y="1116759"/>
                </a:cubicBezTo>
                <a:lnTo>
                  <a:pt x="1272576" y="1162398"/>
                </a:lnTo>
                <a:lnTo>
                  <a:pt x="159985" y="1162398"/>
                </a:lnTo>
                <a:lnTo>
                  <a:pt x="122329" y="1116759"/>
                </a:lnTo>
                <a:cubicBezTo>
                  <a:pt x="45097" y="1002440"/>
                  <a:pt x="0" y="864627"/>
                  <a:pt x="0" y="716280"/>
                </a:cubicBezTo>
                <a:cubicBezTo>
                  <a:pt x="0" y="320689"/>
                  <a:pt x="320689" y="0"/>
                  <a:pt x="71628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B42D3D1-8FA9-CC47-BC04-41214F90B475}"/>
              </a:ext>
            </a:extLst>
          </p:cNvPr>
          <p:cNvSpPr/>
          <p:nvPr userDrawn="1"/>
        </p:nvSpPr>
        <p:spPr>
          <a:xfrm>
            <a:off x="6746894" y="5559914"/>
            <a:ext cx="829636" cy="82963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F761C15-8FC1-6E4C-B034-94E0974F76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00938" y="535056"/>
            <a:ext cx="4211637" cy="591762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D9CD1FB-6EC5-D440-9991-E43C7B11EB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938" y="1437774"/>
            <a:ext cx="4211637" cy="2508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F72912-A427-9D40-B45B-43A5D081FD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419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Circle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DE5D2CCE-BCA0-2D4C-8C20-7E02953B2E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5FC54B-79EC-934B-8981-5D2F5D0B4326}"/>
              </a:ext>
            </a:extLst>
          </p:cNvPr>
          <p:cNvSpPr/>
          <p:nvPr userDrawn="1"/>
        </p:nvSpPr>
        <p:spPr>
          <a:xfrm>
            <a:off x="5229546" y="1"/>
            <a:ext cx="696245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DF52559-D841-984A-B464-2231D9B530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312440" y="3087356"/>
            <a:ext cx="638826" cy="638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3D7C12A-CC6D-AA4E-B383-96CB1D907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03333" y="4434925"/>
            <a:ext cx="2410273" cy="2410273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8EC72D7-78A1-5F45-8917-6EC8A973670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33700" y="5051147"/>
            <a:ext cx="1272165" cy="127216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C0DCA3B-D44C-C24E-922E-0ED28F1C14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37887" y="5809334"/>
            <a:ext cx="1048666" cy="1048666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4EA5378-263A-364B-B742-A66ED86607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9036" y="6076832"/>
            <a:ext cx="757372" cy="757372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4FBBE8BF-202B-5046-A4D6-70440B95BC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87271" y="6452755"/>
            <a:ext cx="405245" cy="405245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E3D2F741-0277-4449-9398-B3AD3A0143D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76561" y="6222815"/>
            <a:ext cx="622384" cy="622384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86952430-C913-074E-91AE-98E54E5495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86656" y="5731954"/>
            <a:ext cx="327592" cy="327592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CD919F07-2000-584A-B7BE-86F19DB898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79401" y="6506958"/>
            <a:ext cx="351042" cy="351042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406625E-1771-4E45-B7F1-350C8B8A6C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781402" y="6452755"/>
            <a:ext cx="402835" cy="402835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FC0AF7-F992-F942-A706-9B2BBBFC23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60" y="2897227"/>
            <a:ext cx="4211003" cy="22691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0BD227-1F36-BB4B-9700-2D9BD36D4EA2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433623" y="6356350"/>
            <a:ext cx="3257440" cy="365125"/>
          </a:xfrm>
        </p:spPr>
        <p:txBody>
          <a:bodyPr/>
          <a:lstStyle/>
          <a:p>
            <a:r>
              <a:rPr lang="en-US"/>
              <a:t>PRIVATE &amp; CONFIDENTIA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23BF27C-1D09-3548-9B65-0C645C241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1427806"/>
            <a:ext cx="4211002" cy="12742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40138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44E8B5C-3777-1544-AA2F-7F42232878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0008FA5-52EB-8B4D-9F52-9505AE1ED5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312440" y="3087356"/>
            <a:ext cx="638826" cy="638826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40E0290-6B61-DE4C-88F9-A6EFFA40DE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997" y="1508845"/>
            <a:ext cx="2750763" cy="2750763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89AE4946-F189-B745-AAA7-736C898E3D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43156" y="881161"/>
            <a:ext cx="702917" cy="702917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220298-CF6D-1246-98BC-4407753C86E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433623" y="6356350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113C47AD-A207-9144-BC0D-386823499F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09304" y="2367280"/>
            <a:ext cx="927222" cy="927222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1B42D1CC-329D-C249-84D4-9D1FD78A2FD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09304" y="3954770"/>
            <a:ext cx="304838" cy="304838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E5D6CBCA-7E87-D34F-9A01-02F94DC7AB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007602" y="1419153"/>
            <a:ext cx="463038" cy="463038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D36935BB-98FA-2F4E-9C6F-557485AAB6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54313" y="1304734"/>
            <a:ext cx="2116327" cy="2116327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E69A43C0-753A-704E-B26F-A9BD82CA95B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040305" y="5562406"/>
            <a:ext cx="465135" cy="465135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6924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1 Column bottom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63332755-F104-4FA1-8195-1CE6E9E9D668}"/>
              </a:ext>
            </a:extLst>
          </p:cNvPr>
          <p:cNvGrpSpPr/>
          <p:nvPr userDrawn="1"/>
        </p:nvGrpSpPr>
        <p:grpSpPr>
          <a:xfrm>
            <a:off x="0" y="1017454"/>
            <a:ext cx="2724727" cy="5851240"/>
            <a:chOff x="0" y="1017454"/>
            <a:chExt cx="2724727" cy="5851240"/>
          </a:xfrm>
        </p:grpSpPr>
        <p:pic>
          <p:nvPicPr>
            <p:cNvPr id="10" name="Picture Placeholder 19">
              <a:extLst>
                <a:ext uri="{FF2B5EF4-FFF2-40B4-BE49-F238E27FC236}">
                  <a16:creationId xmlns:a16="http://schemas.microsoft.com/office/drawing/2014/main" id="{7D534F54-20D3-41A1-8E9E-80AE54101E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" r="374"/>
            <a:stretch>
              <a:fillRect/>
            </a:stretch>
          </p:blipFill>
          <p:spPr>
            <a:xfrm>
              <a:off x="0" y="1017454"/>
              <a:ext cx="2570959" cy="5851240"/>
            </a:xfrm>
            <a:prstGeom prst="rect">
              <a:avLst/>
            </a:prstGeom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61384D0-D143-423C-8005-553C26E5DB58}"/>
                </a:ext>
              </a:extLst>
            </p:cNvPr>
            <p:cNvCxnSpPr/>
            <p:nvPr/>
          </p:nvCxnSpPr>
          <p:spPr>
            <a:xfrm flipH="1">
              <a:off x="0" y="1017454"/>
              <a:ext cx="2724727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3EADEF8-A76D-B649-BB85-06572197E6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43873"/>
            <a:ext cx="9829800" cy="2764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97F1296-93B4-A141-A320-5129FA0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8DC96E7-2366-A84A-BC5F-DE72B8358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31CD130-CF9C-D547-A7A4-830E0C7579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98298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D6F9AFE4-57EB-8541-B5D3-E4A7AB2890F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4"/>
            <a:ext cx="8424863" cy="3798650"/>
          </a:xfrm>
          <a:prstGeom prst="rect">
            <a:avLst/>
          </a:prstGeom>
        </p:spPr>
        <p:txBody>
          <a:bodyPr numCol="1" spcCol="36000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146E7142-7695-46AC-88A2-0945CF9DB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6891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E88FFC51-796A-5B43-A464-E87FA3C00B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22948" y="2127919"/>
            <a:ext cx="3414185" cy="3412122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4E4ED037-2456-1E4B-BD6E-D1006B93AF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83936" y="4626844"/>
            <a:ext cx="1110280" cy="111028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F94E7580-A9C7-0E4A-B2D8-B0A526ACCF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22887" y="2270197"/>
            <a:ext cx="829630" cy="82963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B22186BE-2730-D04E-B409-DBB414DFD1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5864" y="3985142"/>
            <a:ext cx="514891" cy="514891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CAA9D3-7DF8-264E-B853-BD50D6C61DE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PRIVATE &amp; CONFIDENTIA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59BA5CD-B5B9-D84A-ADAE-B0B3E427C0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3F7E159-BC96-3547-AFF1-F8468B01EF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43873"/>
            <a:ext cx="4339710" cy="2764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628171E-12F2-4F4C-AFC5-632A994A0F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433971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4B3316-0CE4-0F49-B6F4-A7BCAC18A0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2009486"/>
            <a:ext cx="4339710" cy="379835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4A5BE1-D4DC-3B4C-8A99-EBBB639B1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583304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7507896-C635-6D43-A2C5-BE64057C20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237C4F-424C-5147-B352-12494B84DC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201469"/>
            <a:ext cx="9829801" cy="2764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E379C4-9AD5-144D-94B8-B26B172F00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F045BBF-7A50-DE49-9425-70410AE9B6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9425" y="2153704"/>
            <a:ext cx="9829800" cy="4924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F7AAE2C-5A7B-2D40-9EA3-D9D071D7E3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4" y="4601450"/>
            <a:ext cx="9829801" cy="1347881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8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D782C31-6F13-2C40-BBCC-AEF1878EC1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A16146E-7816-A746-832C-1C0233461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049915"/>
            <a:ext cx="9829165" cy="9317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7546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35108-3828-0E4E-9EFE-E1EB6E6201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7134F-D4AF-6D4A-931B-A397F1EF00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E178BA0-74D9-FD48-AB42-E6EB5A84C812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21390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F1DB288-0772-574D-B40E-CFF3ACA641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A31847-2AF0-294D-B916-4692771CFC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5F57E24-57E5-C046-B836-FC92453958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9DA518-22DE-1A47-8F2F-A5D76F5086E3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769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n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79E6D0E7-7A46-BC45-AA8C-B241A6C2D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845556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273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41900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5647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64749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664749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94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273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41901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7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664750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83659E5-8EF4-8A45-9F24-1B4AE93498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4A39888-A38A-C748-9494-521D2E8B35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FBACED0-7913-D64A-A95E-D46CAD95732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89722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ed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273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3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4190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5647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7105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7105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273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4190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5647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7105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41B1A03-019A-AB4A-A0D2-E5A27CD2D1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FDF115AB-6674-FE4C-8735-47E1C203E8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58BE716E-539C-3A49-AEFA-0606608D47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7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F7CBBA4-A7DA-E941-A979-7B0AAA4FF14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10505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vender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393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33125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US"/>
              <a:t>Add text her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CD8DFA49-2F7F-3147-A304-69EC5D2A9A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393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7C54CED5-E8F1-7841-8778-508807AF64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3125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4C8D1FE9-FB73-AF46-AAC5-03D14CA633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797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294B6308-4BF3-9847-90BE-7D7CEC8F8D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41529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2D7F37E7-230C-C343-BECB-55734AB64D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4393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B750913-C610-614F-B3AE-2EC44290C9C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3125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B2810B0-F8DF-C146-A3ED-405350DA59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90766" y="2597609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75A2CE6-DFAB-104F-9EEB-DBA0FF408B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49498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A584C9B6-C26B-A848-ACD2-1B31A8567E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90766" y="3398688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6E544971-B467-9346-9A5D-6119AB4F97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49498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EB306962-4E1D-454C-A6B4-5A4FCAD3FC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99170" y="4199767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E659289A-B6B9-1B4E-992C-80723AC36E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57902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2207093D-0AE3-7F47-AC12-1D4621F1E5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90766" y="5000846"/>
            <a:ext cx="483968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75073AEF-5740-F747-B799-3C860882B18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49498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735D8FBE-F524-444D-892F-3044BEE47B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23912" y="2597609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9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8C534923-7194-134A-978E-71F06EEE325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454689" y="2784501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F38C1893-B569-DE47-8A0D-79D27EF86E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23912" y="3398688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AE06F02B-5BB9-AB4B-8831-5B12A24D21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54689" y="3585580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D4D8E94-E835-744D-892D-71E3C45797D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316" y="4199767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1</a:t>
            </a:r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8C948CB6-AFFE-A642-92FD-ED3E26D0573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63093" y="4386659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39534580-C69D-0042-9F3E-223DC45652C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23912" y="5000846"/>
            <a:ext cx="956013" cy="723484"/>
          </a:xfrm>
          <a:prstGeom prst="rect">
            <a:avLst/>
          </a:prstGeom>
        </p:spPr>
        <p:txBody>
          <a:bodyPr lIns="0" anchor="ctr"/>
          <a:lstStyle>
            <a:lvl1pPr marL="0" indent="0" algn="r">
              <a:buNone/>
              <a:defRPr sz="54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2</a:t>
            </a:r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7C407BF4-2959-814E-BF1B-D2DAB1362E3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54689" y="5187738"/>
            <a:ext cx="2047875" cy="472967"/>
          </a:xfrm>
          <a:prstGeom prst="rect">
            <a:avLst/>
          </a:prstGeom>
        </p:spPr>
        <p:txBody>
          <a:bodyPr lIns="0" anchor="ctr"/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Source Sans Pro SemiBold" panose="020B0503030403020204" pitchFamily="34" charset="77"/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1D013E5-6D28-CE47-8FB2-748BCB1B4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51" name="Title 1">
            <a:extLst>
              <a:ext uri="{FF2B5EF4-FFF2-40B4-BE49-F238E27FC236}">
                <a16:creationId xmlns:a16="http://schemas.microsoft.com/office/drawing/2014/main" id="{67BBA32E-1282-0341-8963-47C131CE83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385658"/>
            <a:ext cx="9067266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F5F6A6BA-52FD-7948-A13F-09B9B845C0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8"/>
            <a:ext cx="9067265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E27DC7C-34A0-064D-A088-5F14E9C8A6D5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40888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 R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0E876-C6F6-B54A-9DFC-E7F92F9704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F33E55-9920-A344-A8C9-74407A461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2040" y="1962434"/>
            <a:ext cx="6543735" cy="19990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4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quote with a few lines of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FDBD2B-3799-1B4C-BA08-AE4A979BBE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12041" y="4078054"/>
            <a:ext cx="4124952" cy="6064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US"/>
              <a:t>First Name Last Name</a:t>
            </a:r>
            <a:br>
              <a:rPr lang="en-GB"/>
            </a:br>
            <a:r>
              <a:rPr lang="en-GB"/>
              <a:t>Title</a:t>
            </a:r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B14477-4CC6-944E-A57C-96FC31F964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5984" y="6452912"/>
            <a:ext cx="759070" cy="183017"/>
          </a:xfrm>
          <a:prstGeom prst="rect">
            <a:avLst/>
          </a:prstGeom>
        </p:spPr>
      </p:pic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357B065-0F1B-594B-87E0-3014580CD2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35988" y="1966914"/>
            <a:ext cx="2527892" cy="2526364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770D3AEC-091A-6D40-9904-83FC9B0FDB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79675" y="4296919"/>
            <a:ext cx="775120" cy="775120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18E27A4-0D42-F943-ABFC-E0B9228462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30047" y="1874754"/>
            <a:ext cx="494471" cy="494471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77AFEB5-A753-3C46-AD19-DC9FEAC6C5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38935" y="4007772"/>
            <a:ext cx="306882" cy="306882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F0298F5-E501-2449-8E65-DE98AC7A4AA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3644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0E876-C6F6-B54A-9DFC-E7F92F9704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F0298F5-E501-2449-8E65-DE98AC7A4AA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F33E55-9920-A344-A8C9-74407A461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0408" y="1814834"/>
            <a:ext cx="8701103" cy="2566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quote with a few lines of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FDBD2B-3799-1B4C-BA08-AE4A979BBE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60408" y="4489921"/>
            <a:ext cx="8701103" cy="6064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US"/>
              <a:t>First Name Last Name</a:t>
            </a:r>
            <a:br>
              <a:rPr lang="en-GB"/>
            </a:br>
            <a:r>
              <a:rPr lang="en-GB"/>
              <a:t>Title</a:t>
            </a: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88E023F-1A45-4949-A570-3015758FD8DA}"/>
              </a:ext>
            </a:extLst>
          </p:cNvPr>
          <p:cNvSpPr/>
          <p:nvPr userDrawn="1"/>
        </p:nvSpPr>
        <p:spPr>
          <a:xfrm>
            <a:off x="677333" y="1433689"/>
            <a:ext cx="1207911" cy="12079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0" rIns="180000" rtlCol="0" anchor="ctr"/>
          <a:lstStyle/>
          <a:p>
            <a:pPr algn="ctr"/>
            <a:r>
              <a:rPr lang="en-US" sz="9600" b="0" i="0">
                <a:latin typeface="Source Sans Pro" panose="020B0503030403020204" pitchFamily="34" charset="77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10CB79-CC17-D345-9C12-946570670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17" y="1843374"/>
            <a:ext cx="484592" cy="34729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A5E078-08F1-9D44-A936-A655A1E169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1210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aven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0E876-C6F6-B54A-9DFC-E7F92F9704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F0298F5-E501-2449-8E65-DE98AC7A4AA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F33E55-9920-A344-A8C9-74407A461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0408" y="1814834"/>
            <a:ext cx="8701103" cy="2566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quote with a few lines of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FDBD2B-3799-1B4C-BA08-AE4A979BBE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60408" y="4489921"/>
            <a:ext cx="8701103" cy="6064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US"/>
              <a:t>First Name Last Name</a:t>
            </a:r>
            <a:br>
              <a:rPr lang="en-GB"/>
            </a:br>
            <a:r>
              <a:rPr lang="en-GB"/>
              <a:t>Title</a:t>
            </a: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88E023F-1A45-4949-A570-3015758FD8DA}"/>
              </a:ext>
            </a:extLst>
          </p:cNvPr>
          <p:cNvSpPr/>
          <p:nvPr userDrawn="1"/>
        </p:nvSpPr>
        <p:spPr>
          <a:xfrm>
            <a:off x="677333" y="1433689"/>
            <a:ext cx="1207911" cy="120791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0" rIns="180000" rtlCol="0" anchor="ctr"/>
          <a:lstStyle/>
          <a:p>
            <a:pPr algn="ctr"/>
            <a:r>
              <a:rPr lang="en-US" sz="9600" b="0" i="0">
                <a:latin typeface="Source Sans Pro" panose="020B0503030403020204" pitchFamily="34" charset="77"/>
              </a:rPr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EB2A0C8-B364-EA44-A664-78375F4EB3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17" y="1843374"/>
            <a:ext cx="484592" cy="347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96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Text + Bulle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0044685-51C7-8449-AEC1-8F1D8CC2D7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9A971FA-EF1B-1B4D-A245-ED938A8D0D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4" y="1825624"/>
            <a:ext cx="5025143" cy="43942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69E653C-068F-A340-8D3E-E59427396F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08060" y="1825624"/>
            <a:ext cx="5112000" cy="43942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4530F1D-2509-0A4C-B2C0-43EDEF808F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57475C-A0B3-AA4B-9347-C5EFEC525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F051DCE7-1A59-43DF-A8BA-48C87AF2E668}"/>
              </a:ext>
            </a:extLst>
          </p:cNvPr>
          <p:cNvSpPr txBox="1">
            <a:spLocks/>
          </p:cNvSpPr>
          <p:nvPr userDrawn="1"/>
        </p:nvSpPr>
        <p:spPr>
          <a:xfrm>
            <a:off x="1517657" y="6360371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aysafe - 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276636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Circle Graphic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0E876-C6F6-B54A-9DFC-E7F92F9704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FDBD2B-3799-1B4C-BA08-AE4A979BBE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7750" y="3355025"/>
            <a:ext cx="4213313" cy="60642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First Name Last 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C10447-5334-7A48-B551-3A47D853344D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49D8848-19F7-1849-BFA2-A2D3AD76DD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9BFEB82-114B-B647-8A8F-602F6FB6C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1" y="2196300"/>
            <a:ext cx="8424228" cy="100958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67067F5-A1C5-4646-8C21-3F6124EE5729}"/>
              </a:ext>
            </a:extLst>
          </p:cNvPr>
          <p:cNvSpPr/>
          <p:nvPr userDrawn="1"/>
        </p:nvSpPr>
        <p:spPr>
          <a:xfrm>
            <a:off x="7246165" y="3914381"/>
            <a:ext cx="793976" cy="7939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2687AAC-E7E8-7044-BAAA-2AED054A5244}"/>
              </a:ext>
            </a:extLst>
          </p:cNvPr>
          <p:cNvSpPr/>
          <p:nvPr userDrawn="1"/>
        </p:nvSpPr>
        <p:spPr>
          <a:xfrm>
            <a:off x="8783796" y="4376621"/>
            <a:ext cx="547635" cy="5476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BC1C739-4CBD-2141-A0C2-E4FB8414EB47}"/>
              </a:ext>
            </a:extLst>
          </p:cNvPr>
          <p:cNvSpPr/>
          <p:nvPr userDrawn="1"/>
        </p:nvSpPr>
        <p:spPr>
          <a:xfrm>
            <a:off x="10075086" y="4657486"/>
            <a:ext cx="879714" cy="87971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02031EC-BAAD-9444-A9BD-24F456AC8C6B}"/>
              </a:ext>
            </a:extLst>
          </p:cNvPr>
          <p:cNvSpPr/>
          <p:nvPr userDrawn="1"/>
        </p:nvSpPr>
        <p:spPr>
          <a:xfrm>
            <a:off x="6950886" y="1101407"/>
            <a:ext cx="692267" cy="69226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60AB973-4820-B14C-9EF6-1E29D0D48460}"/>
              </a:ext>
            </a:extLst>
          </p:cNvPr>
          <p:cNvSpPr/>
          <p:nvPr userDrawn="1"/>
        </p:nvSpPr>
        <p:spPr>
          <a:xfrm>
            <a:off x="8271686" y="516025"/>
            <a:ext cx="1170764" cy="117076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B2FEB22-A6CD-5344-8BF9-BB2DDE089144}"/>
              </a:ext>
            </a:extLst>
          </p:cNvPr>
          <p:cNvSpPr/>
          <p:nvPr userDrawn="1"/>
        </p:nvSpPr>
        <p:spPr>
          <a:xfrm>
            <a:off x="7615910" y="-1499"/>
            <a:ext cx="703926" cy="7039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DA1F6DE-289B-CC4D-87EC-0437D511F9EA}"/>
              </a:ext>
            </a:extLst>
          </p:cNvPr>
          <p:cNvSpPr/>
          <p:nvPr userDrawn="1"/>
        </p:nvSpPr>
        <p:spPr>
          <a:xfrm>
            <a:off x="7468220" y="421990"/>
            <a:ext cx="404052" cy="4040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80F1CB1-F131-8947-8C4C-9A73618E2919}"/>
              </a:ext>
            </a:extLst>
          </p:cNvPr>
          <p:cNvSpPr/>
          <p:nvPr userDrawn="1"/>
        </p:nvSpPr>
        <p:spPr>
          <a:xfrm>
            <a:off x="10117398" y="962631"/>
            <a:ext cx="277552" cy="2775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7FE8C9D8-031E-5741-9207-A1DE4B625573}"/>
              </a:ext>
            </a:extLst>
          </p:cNvPr>
          <p:cNvSpPr/>
          <p:nvPr userDrawn="1"/>
        </p:nvSpPr>
        <p:spPr>
          <a:xfrm>
            <a:off x="10662700" y="-1499"/>
            <a:ext cx="955286" cy="95528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44B17D7A-A920-F44E-9013-BB7F2C6F6880}"/>
              </a:ext>
            </a:extLst>
          </p:cNvPr>
          <p:cNvSpPr/>
          <p:nvPr userDrawn="1"/>
        </p:nvSpPr>
        <p:spPr>
          <a:xfrm>
            <a:off x="0" y="4924256"/>
            <a:ext cx="508043" cy="874452"/>
          </a:xfrm>
          <a:custGeom>
            <a:avLst/>
            <a:gdLst>
              <a:gd name="connsiteX0" fmla="*/ 70817 w 508043"/>
              <a:gd name="connsiteY0" fmla="*/ 0 h 874452"/>
              <a:gd name="connsiteX1" fmla="*/ 508043 w 508043"/>
              <a:gd name="connsiteY1" fmla="*/ 437226 h 874452"/>
              <a:gd name="connsiteX2" fmla="*/ 70817 w 508043"/>
              <a:gd name="connsiteY2" fmla="*/ 874452 h 874452"/>
              <a:gd name="connsiteX3" fmla="*/ 0 w 508043"/>
              <a:gd name="connsiteY3" fmla="*/ 867313 h 874452"/>
              <a:gd name="connsiteX4" fmla="*/ 0 w 508043"/>
              <a:gd name="connsiteY4" fmla="*/ 7139 h 874452"/>
              <a:gd name="connsiteX5" fmla="*/ 70817 w 508043"/>
              <a:gd name="connsiteY5" fmla="*/ 0 h 874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8043" h="874452">
                <a:moveTo>
                  <a:pt x="70817" y="0"/>
                </a:moveTo>
                <a:cubicBezTo>
                  <a:pt x="312290" y="0"/>
                  <a:pt x="508043" y="195753"/>
                  <a:pt x="508043" y="437226"/>
                </a:cubicBezTo>
                <a:cubicBezTo>
                  <a:pt x="508043" y="678699"/>
                  <a:pt x="312290" y="874452"/>
                  <a:pt x="70817" y="874452"/>
                </a:cubicBezTo>
                <a:lnTo>
                  <a:pt x="0" y="867313"/>
                </a:lnTo>
                <a:lnTo>
                  <a:pt x="0" y="7139"/>
                </a:lnTo>
                <a:lnTo>
                  <a:pt x="7081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Freeform 43">
            <a:extLst>
              <a:ext uri="{FF2B5EF4-FFF2-40B4-BE49-F238E27FC236}">
                <a16:creationId xmlns:a16="http://schemas.microsoft.com/office/drawing/2014/main" id="{ACD8E3EC-4584-834A-B2AA-1A0133781C03}"/>
              </a:ext>
            </a:extLst>
          </p:cNvPr>
          <p:cNvSpPr/>
          <p:nvPr userDrawn="1"/>
        </p:nvSpPr>
        <p:spPr>
          <a:xfrm>
            <a:off x="6466148" y="5837724"/>
            <a:ext cx="1522152" cy="1020276"/>
          </a:xfrm>
          <a:custGeom>
            <a:avLst/>
            <a:gdLst>
              <a:gd name="connsiteX0" fmla="*/ 761076 w 1522152"/>
              <a:gd name="connsiteY0" fmla="*/ 0 h 1020276"/>
              <a:gd name="connsiteX1" fmla="*/ 1522152 w 1522152"/>
              <a:gd name="connsiteY1" fmla="*/ 761076 h 1020276"/>
              <a:gd name="connsiteX2" fmla="*/ 1506690 w 1522152"/>
              <a:gd name="connsiteY2" fmla="*/ 914459 h 1020276"/>
              <a:gd name="connsiteX3" fmla="*/ 1473843 w 1522152"/>
              <a:gd name="connsiteY3" fmla="*/ 1020276 h 1020276"/>
              <a:gd name="connsiteX4" fmla="*/ 48310 w 1522152"/>
              <a:gd name="connsiteY4" fmla="*/ 1020276 h 1020276"/>
              <a:gd name="connsiteX5" fmla="*/ 15462 w 1522152"/>
              <a:gd name="connsiteY5" fmla="*/ 914459 h 1020276"/>
              <a:gd name="connsiteX6" fmla="*/ 0 w 1522152"/>
              <a:gd name="connsiteY6" fmla="*/ 761076 h 1020276"/>
              <a:gd name="connsiteX7" fmla="*/ 761076 w 1522152"/>
              <a:gd name="connsiteY7" fmla="*/ 0 h 1020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152" h="1020276">
                <a:moveTo>
                  <a:pt x="761076" y="0"/>
                </a:moveTo>
                <a:cubicBezTo>
                  <a:pt x="1181407" y="0"/>
                  <a:pt x="1522152" y="340745"/>
                  <a:pt x="1522152" y="761076"/>
                </a:cubicBezTo>
                <a:cubicBezTo>
                  <a:pt x="1522152" y="813617"/>
                  <a:pt x="1516828" y="864915"/>
                  <a:pt x="1506690" y="914459"/>
                </a:cubicBezTo>
                <a:lnTo>
                  <a:pt x="1473843" y="1020276"/>
                </a:lnTo>
                <a:lnTo>
                  <a:pt x="48310" y="1020276"/>
                </a:lnTo>
                <a:lnTo>
                  <a:pt x="15462" y="914459"/>
                </a:lnTo>
                <a:cubicBezTo>
                  <a:pt x="5324" y="864915"/>
                  <a:pt x="0" y="813617"/>
                  <a:pt x="0" y="761076"/>
                </a:cubicBezTo>
                <a:cubicBezTo>
                  <a:pt x="0" y="340745"/>
                  <a:pt x="340745" y="0"/>
                  <a:pt x="761076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8824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+ Quote_Left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B25F25-E5BC-0647-A17C-C6AC38424F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0E876-C6F6-B54A-9DFC-E7F92F9704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79E1868-0ABE-0F43-8DA9-43C547D969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5984" y="6452912"/>
            <a:ext cx="759070" cy="183017"/>
          </a:xfrm>
          <a:prstGeom prst="rect">
            <a:avLst/>
          </a:prstGeom>
        </p:spPr>
      </p:pic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73AFCD5E-C7CA-B34E-B9A0-34DF370C901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74097" y="606864"/>
            <a:ext cx="912521" cy="912521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E6DD141-949B-E247-9911-152B2C31FA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21559" y="735999"/>
            <a:ext cx="715433" cy="71543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E5D2782-1CD6-2F42-9A4D-F08EBA87A0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72495" y="5576710"/>
            <a:ext cx="427681" cy="427681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E152E1E-FE57-6242-98DA-2D6E06C3F71B}"/>
              </a:ext>
            </a:extLst>
          </p:cNvPr>
          <p:cNvSpPr/>
          <p:nvPr userDrawn="1"/>
        </p:nvSpPr>
        <p:spPr>
          <a:xfrm>
            <a:off x="10431688" y="606865"/>
            <a:ext cx="1550696" cy="155069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77E97DBD-C3B0-0642-AA9F-F9835CF227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758" y="1354667"/>
            <a:ext cx="2753987" cy="2753987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164A7A6-8BE2-3647-9FA5-E958457483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74097" y="606864"/>
            <a:ext cx="912521" cy="912521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7D1DF4F-85A3-244E-832E-EFF3C399AF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462956" y="638133"/>
            <a:ext cx="1488160" cy="148816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EA202A44-0382-624D-8168-EBA2E3103B3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59955" y="1354667"/>
            <a:ext cx="2035115" cy="2035115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A017470-E020-2C4A-B06E-10A3B4E346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57075" y="3977345"/>
            <a:ext cx="252121" cy="252121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EE43F0F-DDA6-B542-98B4-6BC1B9BB58C3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E23D18AF-CBB3-E64B-AB65-2BFE254D241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32224" y="2955258"/>
            <a:ext cx="982125" cy="98212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2A945710-5408-ED4C-84BC-7E82F6BCEA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82775" y="3326393"/>
            <a:ext cx="5618163" cy="60642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First Name Last 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7" name="Title 2">
            <a:extLst>
              <a:ext uri="{FF2B5EF4-FFF2-40B4-BE49-F238E27FC236}">
                <a16:creationId xmlns:a16="http://schemas.microsoft.com/office/drawing/2014/main" id="{87C8D11C-CD0A-124F-B903-437EC6F9E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5086" y="1714062"/>
            <a:ext cx="8424228" cy="1463192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9443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+ Quote_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B25F25-E5BC-0647-A17C-C6AC38424F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0E876-C6F6-B54A-9DFC-E7F92F9704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3CB5393-1E04-594D-8E5D-656CF45525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5984" y="6452912"/>
            <a:ext cx="759070" cy="183017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A2A2C1D-607D-0F49-B70D-2D9D6F383A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73353" y="1172941"/>
            <a:ext cx="715433" cy="71543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1174C486-4BF8-D449-91AF-0E7958F067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878836" y="959101"/>
            <a:ext cx="427681" cy="427681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721D2B79-1FBE-B647-872E-03571BA294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57075" y="1386782"/>
            <a:ext cx="2753987" cy="2753987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C55AA91-2CB7-5145-B927-A5F0032CB1D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69497" y="5088228"/>
            <a:ext cx="912521" cy="912521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793357F9-A7CD-7646-8418-5A6573E7B0D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0185" y="1457480"/>
            <a:ext cx="1488160" cy="148816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C42FC9A-87D6-2842-96D3-4D764C093AB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74265" y="3016339"/>
            <a:ext cx="2035115" cy="2035115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E8E275C-2381-994C-8A76-7545BB65ED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57075" y="3977345"/>
            <a:ext cx="252121" cy="252121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73E8EDA6-2E45-DB4F-ABB4-2EFD6053329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15454" y="4862604"/>
            <a:ext cx="982125" cy="98212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2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59A697-04C7-DC4F-B96D-92881CA0B0C8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5A90F0-5192-7749-AD3D-7378DCE0F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7713" y="1485121"/>
            <a:ext cx="5616575" cy="1311931"/>
          </a:xfrm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34DCCA7-59F9-B246-8D44-209078CA71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87714" y="2945640"/>
            <a:ext cx="5616574" cy="36303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6836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icture Lef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8F641B4-6372-C543-B406-D4FAB7AF12A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58396" y="1962434"/>
            <a:ext cx="2424776" cy="2423311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BC3B88-7C1C-794E-BDFB-D63F2CA9AA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29105" y="1934208"/>
            <a:ext cx="291668" cy="291668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FFC0143-9590-654F-97F6-05411CA23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66528" y="3776361"/>
            <a:ext cx="609384" cy="609384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3251E95-2E15-DB43-9D10-D5E344CBBF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70301" y="3161360"/>
            <a:ext cx="392453" cy="39245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 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53E5FF6-91D0-E041-B1FC-25BBDA405C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80BA60-9A10-8847-A419-E12B8499097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395C97-8690-684A-AB53-8F83EB77FF7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39BA848E-411E-CD44-937E-A8A8A6F8B4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60143" y="3594518"/>
            <a:ext cx="5618163" cy="60642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First Name Last 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2D50C90E-40C9-7A4B-A08E-FF9C5EBF0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2454" y="2385915"/>
            <a:ext cx="6337958" cy="100958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57507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Graph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FCCE88C-5D45-E24C-8044-0038CFBCB3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403" y="3198027"/>
            <a:ext cx="5768376" cy="12548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0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239FA92-3F9E-BF4C-BD40-34A0C885AE2C}"/>
              </a:ext>
            </a:extLst>
          </p:cNvPr>
          <p:cNvSpPr/>
          <p:nvPr userDrawn="1"/>
        </p:nvSpPr>
        <p:spPr>
          <a:xfrm>
            <a:off x="7089421" y="2809522"/>
            <a:ext cx="1952978" cy="195297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4BB11E9-E0E0-1440-9F66-9DEA850FE579}"/>
              </a:ext>
            </a:extLst>
          </p:cNvPr>
          <p:cNvSpPr/>
          <p:nvPr userDrawn="1"/>
        </p:nvSpPr>
        <p:spPr>
          <a:xfrm>
            <a:off x="9045098" y="2809522"/>
            <a:ext cx="1952978" cy="195297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6BCD9912-C6C2-3B4A-9E47-A8CADE6A09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id="{F69C0910-9C3D-E44F-A64C-74A43022E4C5}"/>
              </a:ext>
            </a:extLst>
          </p:cNvPr>
          <p:cNvSpPr/>
          <p:nvPr userDrawn="1"/>
        </p:nvSpPr>
        <p:spPr>
          <a:xfrm>
            <a:off x="11000775" y="2809522"/>
            <a:ext cx="1191225" cy="1952978"/>
          </a:xfrm>
          <a:custGeom>
            <a:avLst/>
            <a:gdLst>
              <a:gd name="connsiteX0" fmla="*/ 976489 w 1191225"/>
              <a:gd name="connsiteY0" fmla="*/ 0 h 1952978"/>
              <a:gd name="connsiteX1" fmla="*/ 1173286 w 1191225"/>
              <a:gd name="connsiteY1" fmla="*/ 19839 h 1952978"/>
              <a:gd name="connsiteX2" fmla="*/ 1191225 w 1191225"/>
              <a:gd name="connsiteY2" fmla="*/ 24452 h 1952978"/>
              <a:gd name="connsiteX3" fmla="*/ 1191225 w 1191225"/>
              <a:gd name="connsiteY3" fmla="*/ 1928527 h 1952978"/>
              <a:gd name="connsiteX4" fmla="*/ 1173286 w 1191225"/>
              <a:gd name="connsiteY4" fmla="*/ 1933139 h 1952978"/>
              <a:gd name="connsiteX5" fmla="*/ 976489 w 1191225"/>
              <a:gd name="connsiteY5" fmla="*/ 1952978 h 1952978"/>
              <a:gd name="connsiteX6" fmla="*/ 0 w 1191225"/>
              <a:gd name="connsiteY6" fmla="*/ 976489 h 1952978"/>
              <a:gd name="connsiteX7" fmla="*/ 976489 w 1191225"/>
              <a:gd name="connsiteY7" fmla="*/ 0 h 1952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1225" h="1952978">
                <a:moveTo>
                  <a:pt x="976489" y="0"/>
                </a:moveTo>
                <a:cubicBezTo>
                  <a:pt x="1043901" y="0"/>
                  <a:pt x="1109719" y="6831"/>
                  <a:pt x="1173286" y="19839"/>
                </a:cubicBezTo>
                <a:lnTo>
                  <a:pt x="1191225" y="24452"/>
                </a:lnTo>
                <a:lnTo>
                  <a:pt x="1191225" y="1928527"/>
                </a:lnTo>
                <a:lnTo>
                  <a:pt x="1173286" y="1933139"/>
                </a:lnTo>
                <a:cubicBezTo>
                  <a:pt x="1109719" y="1946147"/>
                  <a:pt x="1043901" y="1952978"/>
                  <a:pt x="976489" y="1952978"/>
                </a:cubicBezTo>
                <a:cubicBezTo>
                  <a:pt x="437189" y="1952978"/>
                  <a:pt x="0" y="1515789"/>
                  <a:pt x="0" y="976489"/>
                </a:cubicBezTo>
                <a:cubicBezTo>
                  <a:pt x="0" y="437189"/>
                  <a:pt x="437189" y="0"/>
                  <a:pt x="97648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62333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FCCE88C-5D45-E24C-8044-0038CFBCB3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08400" y="2883067"/>
            <a:ext cx="4348480" cy="125486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0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Thank yo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8DA3D2-4F87-4644-BD65-35C51695C1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83396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80060" y="6356350"/>
            <a:ext cx="875554" cy="365125"/>
          </a:xfrm>
        </p:spPr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0675C4-D4D4-C144-B4C6-364FEB8E4F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E2DDDE-3F9D-3C45-87B6-4D8A8BEDE6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60" y="1808585"/>
            <a:ext cx="8424228" cy="4450950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AF330B-A202-764E-A782-78C55AE4C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2077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_No Bulle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C3C747-F4C3-5440-8F08-D17FE0BD99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3115" y="364124"/>
            <a:ext cx="759070" cy="1830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4C9C8E-83E9-8444-9AFF-C1149E5CA4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E5CDAC5-37EC-CA42-A9C7-AE17165145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808585"/>
            <a:ext cx="8424863" cy="4357265"/>
          </a:xfrm>
          <a:prstGeom prst="rect">
            <a:avLst/>
          </a:prstGeom>
        </p:spPr>
        <p:txBody>
          <a:bodyPr numCol="1" spcCol="360000"/>
          <a:lstStyle>
            <a:lvl1pPr marL="0" indent="0">
              <a:spcAft>
                <a:spcPts val="600"/>
              </a:spcAft>
              <a:buNone/>
              <a:defRPr/>
            </a:lvl1pPr>
            <a:lvl2pPr marL="457200" indent="0">
              <a:spcAft>
                <a:spcPts val="600"/>
              </a:spcAft>
              <a:buNone/>
              <a:defRPr/>
            </a:lvl2pPr>
            <a:lvl3pPr marL="914400" indent="0">
              <a:spcAft>
                <a:spcPts val="600"/>
              </a:spcAft>
              <a:buNone/>
              <a:defRPr/>
            </a:lvl3pPr>
            <a:lvl4pPr marL="1371600" indent="0">
              <a:spcAft>
                <a:spcPts val="600"/>
              </a:spcAft>
              <a:buNone/>
              <a:defRPr/>
            </a:lvl4pPr>
            <a:lvl5pPr marL="1828800" indent="0">
              <a:spcAft>
                <a:spcPts val="600"/>
              </a:spcAft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0CB76-40C1-244A-8AFC-F6AD31B8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32849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889403"/>
            <a:ext cx="9829800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FB2053-457C-234E-BF19-E2881488451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AF3F81-94BF-4B47-A5BD-B9E8A60364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808585"/>
            <a:ext cx="9828635" cy="3971165"/>
          </a:xfrm>
          <a:prstGeom prst="rect">
            <a:avLst/>
          </a:prstGeom>
        </p:spPr>
        <p:txBody>
          <a:bodyPr numCol="2" spcCol="36000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AC67B4C-AA30-6A41-9418-3163E0F4F8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34AD474-361C-5B4F-BED0-B01E98C5A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97593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1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403D5A-CC3C-0148-BCBD-44C90F0ADD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74DC98B-717B-0C44-A22F-CC7E2B4294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270A8CB-A7A5-A246-B6DF-9EEB47F673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98298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013E0FA-687D-3448-A78A-9B7657630D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3"/>
            <a:ext cx="8424863" cy="416300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B5FC18-43FB-0343-8CAB-DCF057B6D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534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ub + 2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378E1FE-B01C-744F-8DD1-FC1695D6C4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E9DE657-9C69-4A41-BBCF-448AFF8027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186229-AEDB-0A4E-BB4A-14163CB82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BBD11AE7-4275-8E4D-9422-3AB0A11EC0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5025142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E47436A-E810-2E4C-8618-1E8804EB387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3"/>
            <a:ext cx="5025142" cy="416300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9349858-2580-8540-AFF4-DAAA5ABF0E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0" y="1374710"/>
            <a:ext cx="5025142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4BA6CC-2CEE-0D41-BD33-51687CE83CF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96000" y="2009193"/>
            <a:ext cx="5025142" cy="416300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CE1BC164-7ACD-478D-BDA4-CA00901BA0F7}"/>
              </a:ext>
            </a:extLst>
          </p:cNvPr>
          <p:cNvSpPr txBox="1">
            <a:spLocks/>
          </p:cNvSpPr>
          <p:nvPr userDrawn="1"/>
        </p:nvSpPr>
        <p:spPr>
          <a:xfrm>
            <a:off x="1517657" y="6360371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aysafe - 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980036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1 Column bottom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55072A-AEE2-0948-95B4-07C3884012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3EADEF8-A76D-B649-BB85-06572197E6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43873"/>
            <a:ext cx="9829800" cy="2764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97F1296-93B4-A141-A320-5129FA0C8D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8DC96E7-2366-A84A-BC5F-DE72B8358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31CD130-CF9C-D547-A7A4-830E0C7579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98298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D6F9AFE4-57EB-8541-B5D3-E4A7AB2890F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4"/>
            <a:ext cx="8424863" cy="3798650"/>
          </a:xfrm>
          <a:prstGeom prst="rect">
            <a:avLst/>
          </a:prstGeom>
        </p:spPr>
        <p:txBody>
          <a:bodyPr numCol="1" spcCol="360000"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56110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Text + Bulle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0044685-51C7-8449-AEC1-8F1D8CC2D7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42E69A-4369-2A47-A45F-61B41DF04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9A971FA-EF1B-1B4D-A245-ED938A8D0D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4" y="1825624"/>
            <a:ext cx="5025143" cy="43942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69E653C-068F-A340-8D3E-E59427396F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08060" y="1825624"/>
            <a:ext cx="5112000" cy="43942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4530F1D-2509-0A4C-B2C0-43EDEF808F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57475C-A0B3-AA4B-9347-C5EFEC525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0261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ub + 2 Column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378E1FE-B01C-744F-8DD1-FC1695D6C4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0D2384E-1BE8-4840-997D-EBEF09B76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E9DE657-9C69-4A41-BBCF-448AFF8027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186229-AEDB-0A4E-BB4A-14163CB82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BBD11AE7-4275-8E4D-9422-3AB0A11EC0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5025142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E47436A-E810-2E4C-8618-1E8804EB387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3"/>
            <a:ext cx="5025142" cy="416300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9349858-2580-8540-AFF4-DAAA5ABF0E3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0" y="1374710"/>
            <a:ext cx="5025142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4BA6CC-2CEE-0D41-BD33-51687CE83CF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96000" y="2009193"/>
            <a:ext cx="5025142" cy="416300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34859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0E876-C6F6-B54A-9DFC-E7F92F9704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064916-436F-D048-9458-259505C10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F674CC-241E-794D-A0C1-907FF442F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D5A551-C8E5-B341-BD6E-8C45C890B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30136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ntent + 1 Capti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895F02-7230-AA42-A978-89F37B0F5D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9425" y="2289028"/>
            <a:ext cx="4211638" cy="3876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8FA49D2-2654-4A4B-A08A-1FB1AFAFE0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9CE71A-4F21-294B-8940-C4683DD8A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E099-FB04-A045-B52A-8E2A57E300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6791" y="2289028"/>
            <a:ext cx="6555784" cy="38768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C28CF5-5120-8C43-BD94-4AEE74C6D3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686386-BA69-D242-8F2E-48F0D25A5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3197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1 Column Text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8D94B0-AA24-CA44-91F4-4F8EA226B1E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2D3A3E1-DEB3-3F41-B57D-23FA532162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02643" y="2009193"/>
            <a:ext cx="6009933" cy="41566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01BB585-8E42-544A-BBB3-7C5B3EC880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10151"/>
            <a:ext cx="4990499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GB"/>
              <a:t>Click to add your bottom text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36C517-99EC-324C-A958-8CC7C7765B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FCA2D91-0539-B343-AC0C-19D6F206A7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4666733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7908037-A937-CC46-A428-121E1D063CB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4"/>
            <a:ext cx="4666733" cy="3769894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1DDA4D2-ABDF-394D-BFA1-AA733165E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3386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459E5D0A-834A-FD42-83E3-25452CEE65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91062" y="2009193"/>
            <a:ext cx="3398495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CD2BAA-9E21-E049-A72F-FE45149647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FAC5E5B-823E-8046-9E38-8418ABEE7A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10151"/>
            <a:ext cx="4070780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GB"/>
              <a:t>Click to add your bottom text he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14C4F94-6D72-5249-AC7A-DD8E00F5AA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65016335-C3FF-C841-9DB1-BD55A5F27D2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14080" y="2009192"/>
            <a:ext cx="3398495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EC1981E4-96B4-AB43-907D-D692C9D075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1374710"/>
            <a:ext cx="3720434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C61DFCA4-0210-8E4D-AAAD-8699B9F15F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6" y="2009194"/>
            <a:ext cx="3720434" cy="3769894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82F567-71EC-894E-8F35-A7335D6FD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71301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4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78EC9B8-7C99-5047-B82A-BF2D8FFD8B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23622" y="2035361"/>
            <a:ext cx="2872685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19C5314-20A3-3B46-8ED6-28E1039244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00742" y="2034622"/>
            <a:ext cx="3011833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CD2BAA-9E21-E049-A72F-FE45149647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3686D9E1-3896-FA49-91DB-FF649E03F2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19424" y="3952193"/>
            <a:ext cx="2872685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114A2B8D-3FE8-5247-8638-3515EB1B28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96544" y="3952193"/>
            <a:ext cx="3011833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D1403B1-EDE8-7F4B-9F0C-69004E214A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10151"/>
            <a:ext cx="4211639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GB"/>
              <a:t>Click to add your bottom text he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E3C2FE0-6A3A-F442-8AEF-5DD1230250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BBD8300-8122-0D4E-8FE9-301AB1E301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1374710"/>
            <a:ext cx="4211638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C2231B3-8EEF-E046-84B8-376CCDE7313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6" y="2009194"/>
            <a:ext cx="4211638" cy="3769894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EAC6A9-FE80-A149-A718-05B9B6651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7732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6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CD2BAA-9E21-E049-A72F-FE45149647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792D8C06-1A96-844E-B531-3D8B8F8BA4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5910151"/>
            <a:ext cx="2574023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E1176CE-07AF-2B4C-A415-A7679B5FCB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94C601F-D030-884D-A224-5982680C31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1374710"/>
            <a:ext cx="2574021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ADED31E-6CFA-9D45-A21B-FCE3ECDD98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6" y="2009194"/>
            <a:ext cx="2574021" cy="3769894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80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9CF575-2394-1348-A2D5-DA34A4B95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3A37DF41-C4DD-654E-9CCA-AF31A2CE681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6597" y="2035361"/>
            <a:ext cx="2448491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78B3CB60-55FD-054A-829E-5CB2B8B3F6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5483" y="2034622"/>
            <a:ext cx="2567092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F3047F3A-DB52-A544-B0E3-4AA1F07E468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92399" y="3952193"/>
            <a:ext cx="2448491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2CB96240-AF00-9843-94BD-1A0EA155FAB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41285" y="3952193"/>
            <a:ext cx="2567092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35" name="Picture Placeholder 5">
            <a:extLst>
              <a:ext uri="{FF2B5EF4-FFF2-40B4-BE49-F238E27FC236}">
                <a16:creationId xmlns:a16="http://schemas.microsoft.com/office/drawing/2014/main" id="{8804653C-C5B3-A64C-9C49-8B7A0E7C646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11613" y="2034622"/>
            <a:ext cx="2448491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20A793A6-CB8C-3A4E-BE97-5A333357979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607415" y="3951454"/>
            <a:ext cx="2448491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19245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8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CD2BAA-9E21-E049-A72F-FE451496478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0030207-B136-4C40-928E-FB2D42F316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51995"/>
            <a:ext cx="8333372" cy="276447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.AppleSystemUIFont"/>
              <a:buNone/>
              <a:tabLst/>
              <a:defRPr/>
            </a:pPr>
            <a:r>
              <a:rPr lang="en-GB"/>
              <a:t>Click to add your bottom text her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B4AD4BB-739E-E64C-BD6B-B3F3A72D7E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E36D7FB-73D5-0E47-B5D4-122AEEED48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1374710"/>
            <a:ext cx="2808287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47" name="Picture Placeholder 5">
            <a:extLst>
              <a:ext uri="{FF2B5EF4-FFF2-40B4-BE49-F238E27FC236}">
                <a16:creationId xmlns:a16="http://schemas.microsoft.com/office/drawing/2014/main" id="{4439291D-711B-CF43-8ACD-13EA0A34D09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256797" y="2034622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48" name="Picture Placeholder 5">
            <a:extLst>
              <a:ext uri="{FF2B5EF4-FFF2-40B4-BE49-F238E27FC236}">
                <a16:creationId xmlns:a16="http://schemas.microsoft.com/office/drawing/2014/main" id="{9E6F2DE9-063C-BA41-9496-CD18BFAB2B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45483" y="2034622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49" name="Picture Placeholder 5">
            <a:extLst>
              <a:ext uri="{FF2B5EF4-FFF2-40B4-BE49-F238E27FC236}">
                <a16:creationId xmlns:a16="http://schemas.microsoft.com/office/drawing/2014/main" id="{4D07B36A-F483-AE4B-8336-972A5C492D61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368111" y="2034622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50" name="Picture Placeholder 5">
            <a:extLst>
              <a:ext uri="{FF2B5EF4-FFF2-40B4-BE49-F238E27FC236}">
                <a16:creationId xmlns:a16="http://schemas.microsoft.com/office/drawing/2014/main" id="{60C148D3-5B3E-EC43-8A2C-E4AC4781240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79425" y="2034622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51" name="Picture Placeholder 5">
            <a:extLst>
              <a:ext uri="{FF2B5EF4-FFF2-40B4-BE49-F238E27FC236}">
                <a16:creationId xmlns:a16="http://schemas.microsoft.com/office/drawing/2014/main" id="{805BD7C6-172C-1242-833C-8E46D089F33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56797" y="3941335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52" name="Picture Placeholder 5">
            <a:extLst>
              <a:ext uri="{FF2B5EF4-FFF2-40B4-BE49-F238E27FC236}">
                <a16:creationId xmlns:a16="http://schemas.microsoft.com/office/drawing/2014/main" id="{C483D8E6-2F9B-9649-98C2-CDC65C49094F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45483" y="3941335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7521F3FF-EF40-6448-8C9F-829EA070412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368111" y="3941335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54" name="Picture Placeholder 5">
            <a:extLst>
              <a:ext uri="{FF2B5EF4-FFF2-40B4-BE49-F238E27FC236}">
                <a16:creationId xmlns:a16="http://schemas.microsoft.com/office/drawing/2014/main" id="{48B33A7F-6F58-BC44-9157-32F7C789D54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79425" y="3941335"/>
            <a:ext cx="2556000" cy="162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A811E-9F83-C04D-91E5-9D08F91B0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7240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0E876-C6F6-B54A-9DFC-E7F92F9704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F674CC-241E-794D-A0C1-907FF442F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D5A551-C8E5-B341-BD6E-8C45C890B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A682B151-BD4B-4586-8C96-5954052491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22977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1 picture right_Whi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B899B89-6E7E-F145-8F9A-F1FAAE580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52756" y="1825625"/>
            <a:ext cx="7039243" cy="50323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907253-A046-7546-BF64-CF5B488F08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433623" y="6356350"/>
            <a:ext cx="325744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939F48-B5E1-3248-AD76-2047F04AB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01FC7A7-6224-2047-95A0-E41728A4E0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0060" y="1808585"/>
            <a:ext cx="4211003" cy="4357265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163801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eft + 1 Column Text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BA240CA-DE87-C342-8BD7-866CCEF0CF0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E461B3E-246C-C144-8ADA-87DA99E650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lIns="0" tIns="0" rIns="0" bIns="0"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1A38C1-0827-9D47-8BFB-5B988B7CFD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3623" y="6356350"/>
            <a:ext cx="3026129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8A10B-FDF4-8A48-9B3F-816E79B9C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765175"/>
            <a:ext cx="4211003" cy="10429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0D08270-2789-FC40-B25E-D5236D7EFB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6" y="2009194"/>
            <a:ext cx="4211638" cy="4156656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37476633-54A4-124B-A965-13C5056AD9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305168" y="821635"/>
            <a:ext cx="6407407" cy="5344215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36FF263-88D1-9849-B57D-7959E66207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0280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5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FFF942-5FE9-384B-BC9C-5CAE15288F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4" y="2962864"/>
            <a:ext cx="5455051" cy="320298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279E1E0D-DFC2-FE4D-85E9-D82FD82BD3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18946" y="2962864"/>
            <a:ext cx="2563983" cy="15092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AF2401BD-6B1D-2B47-AC9E-1715BBA87C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024396" y="2962864"/>
            <a:ext cx="2688179" cy="15092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242E4854-1864-0140-B460-3B80BDC868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14748" y="4652867"/>
            <a:ext cx="2563983" cy="15092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0282FA16-76E5-B04F-BF0C-120D8450D4A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24396" y="4652867"/>
            <a:ext cx="2688179" cy="15092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341ED80-BB0B-8842-8F08-6EF67384DD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0F6E966-3D3F-7640-893E-114082F194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1435608"/>
            <a:ext cx="5455050" cy="1363744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51FA39A-3FF4-5140-B438-209F880F7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6"/>
            <a:ext cx="9829165" cy="5081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1695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 Text + 3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F7292761-C2AC-794B-8B85-C713EFB1AF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FFF942-5FE9-384B-BC9C-5CAE15288F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820940" y="1808163"/>
            <a:ext cx="1924410" cy="27429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0E005FD9-67B5-1A43-ACB5-150BA4677E3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98890" y="1808163"/>
            <a:ext cx="1924410" cy="27429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A95AC2B-BE40-744C-8429-09548386951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776840" y="1809766"/>
            <a:ext cx="1924410" cy="27429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59AF2C-CE9F-2246-8BC5-06A7BF8DE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DA24FD95-EF66-744A-9C22-9456A61563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060" y="279165"/>
            <a:ext cx="2470210" cy="2967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8339611-FE3B-6048-A0EA-2DE9F2F707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0060" y="1808163"/>
            <a:ext cx="3902390" cy="1084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E546EFC-817F-2C43-B69C-F35B776E6C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0059" y="3029119"/>
            <a:ext cx="3902390" cy="1521967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02532FD-79FF-6D4C-89B6-B1BF0362DE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AA89D6C-D2FE-6040-B6F1-867EFAB29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730140"/>
            <a:ext cx="9829165" cy="10095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20124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3A3702-0B3C-AB40-84E6-B5560EBE4E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0060" y="1808163"/>
            <a:ext cx="5375733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5999" y="1808163"/>
            <a:ext cx="5616575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12E0AD-9256-8444-937C-B4524AE5FF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9FE132-0AD8-4C45-B6D1-61670981A2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259687-56C0-E149-BB3B-6356FC72C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49835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3A3702-0B3C-AB40-84E6-B5560EBE4E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4" y="1808163"/>
            <a:ext cx="3528000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6337" y="1808163"/>
            <a:ext cx="3528000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F64C4D2D-6944-7543-9427-BA06983779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73250" y="1808163"/>
            <a:ext cx="3528000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E421F1-49EE-6D49-A028-0C057F48C9B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1847E93-A953-7440-BEEB-46AEF5C26B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18AB86-18AE-1746-89D6-66329BAE3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27892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+ 2 Sub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3A3702-0B3C-AB40-84E6-B5560EBE4E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5" y="2009193"/>
            <a:ext cx="5437900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3350" y="2009193"/>
            <a:ext cx="5437900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94817D-7361-E54B-B627-E2558CE774E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520B317-C160-1249-A73A-A9C943970B8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54379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0EEEBE6-A3A5-F949-AFA5-79CE9FB889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3350" y="1374710"/>
            <a:ext cx="54379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D96EE1-F67B-464D-8131-76F771084C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73DBAB-0E28-B748-8DB6-9E04717E2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33540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Sub + 3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73A3702-0B3C-AB40-84E6-B5560EBE4E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5" y="2009193"/>
            <a:ext cx="3503169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6350" y="2009193"/>
            <a:ext cx="3503169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F64C4D2D-6944-7543-9427-BA06983779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13275" y="2009193"/>
            <a:ext cx="3503169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327903-13B3-E74B-9CEE-DFF99CE707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9DEA145-D7CB-7941-A3C1-72D98C758D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7CF2624-BD7A-C44B-B65F-FF7DE1CDB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91022F8-9E5D-914F-91DC-1CC72C353A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350316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3F91CF3-BCED-FD4B-9118-3EE25D21D7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6350" y="1374710"/>
            <a:ext cx="350316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00BBF1D-2AFD-A341-874F-8AF68FC1686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09406" y="1374710"/>
            <a:ext cx="350316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</p:spTree>
    <p:extLst>
      <p:ext uri="{BB962C8B-B14F-4D97-AF65-F5344CB8AC3E}">
        <p14:creationId xmlns:p14="http://schemas.microsoft.com/office/powerpoint/2010/main" val="15008176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Text Column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808163"/>
            <a:ext cx="5605250" cy="435768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EDBB55-F807-C24F-A1DE-0443886CBC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61F227-B133-C34F-872C-76A3C5B348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808163"/>
            <a:ext cx="5068998" cy="436403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DFC6FC-9E70-B146-AF0F-4D0549BD70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FE4888-B3AA-1443-9EFC-CA47D9BBD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566001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Text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8B73C-99D6-8146-BE60-77C7CA2A3B4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7770B3-830F-E641-AA97-10AFB2341C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30123"/>
            <a:ext cx="5068998" cy="27644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A902CF9-D4E9-5841-9EF3-70755B3FA1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3F0FD38B-A476-984D-A159-7610115622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2009193"/>
            <a:ext cx="5616575" cy="3792857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497350B-2EE3-344C-B6CC-B8BAEFA0478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5068998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22048AB-0B83-7E47-A80B-4A224059A70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4"/>
            <a:ext cx="5068998" cy="3798650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8067AD-B15D-9347-9505-237D71E56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8645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ntent + 1 Capti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895F02-7230-AA42-A978-89F37B0F5D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9425" y="2289028"/>
            <a:ext cx="4211638" cy="3876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8FA49D2-2654-4A4B-A08A-1FB1AFAFE0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E099-FB04-A045-B52A-8E2A57E300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6791" y="2289028"/>
            <a:ext cx="6555784" cy="38768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C28CF5-5120-8C43-BD94-4AEE74C6D3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686386-BA69-D242-8F2E-48F0D25A5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3A170B04-B415-425B-BD68-974B0D158AFE}"/>
              </a:ext>
            </a:extLst>
          </p:cNvPr>
          <p:cNvSpPr txBox="1">
            <a:spLocks/>
          </p:cNvSpPr>
          <p:nvPr userDrawn="1"/>
        </p:nvSpPr>
        <p:spPr>
          <a:xfrm>
            <a:off x="1517657" y="6360371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aysafe - 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6839257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ub + 1 Column Text + 1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7CD3DB-A77C-8C4C-8585-F43A6F174B9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6A5F7EB-5079-5742-A89E-BDF0552C8C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14434191-76E8-C741-BFD4-16364A5590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2009193"/>
            <a:ext cx="5616575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AB6C9732-E9E9-5C47-912C-D8D8E831966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5068998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131D909-EEF2-914B-9498-939E011A04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1374710"/>
            <a:ext cx="5616575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36A07CD-AFC8-0042-98B8-FE47F6F1BA3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2009193"/>
            <a:ext cx="5068998" cy="416300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608B9C5-D405-024D-B87A-F62AD4D05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3935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Text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56F769C-5D83-AD47-9A1A-969C7D6166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88825" y="1808163"/>
            <a:ext cx="3492000" cy="43576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F64C4D2D-6944-7543-9427-BA06983779B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8312" y="1808163"/>
            <a:ext cx="3542937" cy="43576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995A94-07E4-B941-8177-3BB51E4F078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F27D61F-08E9-934B-B02D-81E7505B9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3484712-E162-DA4F-BFD6-3F95A1156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885F830-FA73-874F-9833-13F50A18BC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1808163"/>
            <a:ext cx="3486519" cy="436403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509021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Column Text + 2 Pictur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CC730A7-08CF-EB4D-83D3-4C49AEF69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5943873"/>
            <a:ext cx="3486519" cy="27644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Berlingske Sans Demibold" panose="02000703050000020004" pitchFamily="2" charset="0"/>
              </a:defRPr>
            </a:lvl1pPr>
          </a:lstStyle>
          <a:p>
            <a:pPr lvl="0"/>
            <a:r>
              <a:rPr lang="en-GB"/>
              <a:t>Click to create a bottom part of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7DD213-08DB-EF43-BF09-C187AFD2E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F7466FC-2E70-4B4E-87C0-6F6A86F41A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E64E93D4-C57C-5948-A63F-7D03B844B4C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388825" y="2009193"/>
            <a:ext cx="3492000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3B85AD64-3D4F-0B4D-8733-D3386754EE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8312" y="2009193"/>
            <a:ext cx="3542937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7D22795-D1ED-0D4D-89CF-ED185EF7EB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348651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F24F3BB-D155-F44A-8ADD-548EF68CB50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2009486"/>
            <a:ext cx="3486519" cy="3798357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64814-5D60-244A-81D3-926627100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2500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Sub + 1 Column Text + 2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031CC-BDCF-8A40-B42F-6CAFF5D26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2C5026-36F5-0A47-95F8-6FBECF381D0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AEBA449-E1C2-184B-A517-B09344EFDC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EE2E79-FFFC-9743-99AB-BCF21CD08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22522E3A-1033-3E44-91E5-D551BCD6EBD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1374710"/>
            <a:ext cx="3486519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DD0F857-333D-BF40-A6FC-EF834C2972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88826" y="1374710"/>
            <a:ext cx="3492000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907A3FD7-55F2-CE49-82A6-67CE073E86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88825" y="2009193"/>
            <a:ext cx="3492000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30B04FAE-5B54-CE4C-8FAF-8931C41E7D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58312" y="2009193"/>
            <a:ext cx="3542937" cy="415665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E2AB787-3C55-3B4A-B676-8EBEAA44A7C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9425" y="2009486"/>
            <a:ext cx="3486519" cy="4162714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EC3F27F-5F84-3645-8331-2E69CC70FC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8311" y="1386108"/>
            <a:ext cx="3554263" cy="5034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GB"/>
              <a:t>Click to create a subtitle</a:t>
            </a:r>
          </a:p>
        </p:txBody>
      </p:sp>
    </p:spTree>
    <p:extLst>
      <p:ext uri="{BB962C8B-B14F-4D97-AF65-F5344CB8AC3E}">
        <p14:creationId xmlns:p14="http://schemas.microsoft.com/office/powerpoint/2010/main" val="349727747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Sub + 4 Column Text + Pictur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0C4718-1326-BB4E-B090-ECD88800D2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Picture Placeholder 19">
            <a:extLst>
              <a:ext uri="{FF2B5EF4-FFF2-40B4-BE49-F238E27FC236}">
                <a16:creationId xmlns:a16="http://schemas.microsoft.com/office/drawing/2014/main" id="{EF59CFC1-EB86-4445-B77E-0FA809D4D34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79425" y="2200250"/>
            <a:ext cx="1980000" cy="25463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7" name="Picture Placeholder 19">
            <a:extLst>
              <a:ext uri="{FF2B5EF4-FFF2-40B4-BE49-F238E27FC236}">
                <a16:creationId xmlns:a16="http://schemas.microsoft.com/office/drawing/2014/main" id="{216B027C-838A-EB40-86A6-53D4C475DA42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3287713" y="2200250"/>
            <a:ext cx="1980000" cy="25463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10" name="Picture Placeholder 19">
            <a:extLst>
              <a:ext uri="{FF2B5EF4-FFF2-40B4-BE49-F238E27FC236}">
                <a16:creationId xmlns:a16="http://schemas.microsoft.com/office/drawing/2014/main" id="{F57396B9-A12C-6E4F-9588-ACF2BE439796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096282" y="2200250"/>
            <a:ext cx="1980000" cy="25463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13" name="Picture Placeholder 19">
            <a:extLst>
              <a:ext uri="{FF2B5EF4-FFF2-40B4-BE49-F238E27FC236}">
                <a16:creationId xmlns:a16="http://schemas.microsoft.com/office/drawing/2014/main" id="{C69E4486-2849-5441-81F6-DF66139AD0A3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904288" y="2200250"/>
            <a:ext cx="1980000" cy="254632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E23DF3BE-B726-D343-86EF-206B935503E8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59A28C2-21B7-6349-A443-A066D82E2F3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479425" y="1474475"/>
            <a:ext cx="1981200" cy="563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 i="0">
                <a:latin typeface="Berlingske Sans Extrabold" panose="02000703050000020004" pitchFamily="2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A5B35B78-C7C7-2F4B-B4DE-03F27E286DF0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288190" y="1474475"/>
            <a:ext cx="1981200" cy="563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 i="0">
                <a:latin typeface="Berlingske Sans Extrabold" panose="02000703050000020004" pitchFamily="2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F9477C53-1638-4D42-A3C8-DEBA998A6A6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6096000" y="1474475"/>
            <a:ext cx="1981200" cy="563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 i="0">
                <a:latin typeface="Berlingske Sans Extrabold" panose="02000703050000020004" pitchFamily="2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5BF722AC-C6F9-EF47-A75A-FC2E3C2B8D5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8904447" y="1474475"/>
            <a:ext cx="1981200" cy="563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 i="0">
                <a:latin typeface="Berlingske Sans Extrabold" panose="02000703050000020004" pitchFamily="2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29">
            <a:extLst>
              <a:ext uri="{FF2B5EF4-FFF2-40B4-BE49-F238E27FC236}">
                <a16:creationId xmlns:a16="http://schemas.microsoft.com/office/drawing/2014/main" id="{47ECC223-E360-BC45-AB0B-79CD6708066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79425" y="4908732"/>
            <a:ext cx="1981200" cy="12854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US"/>
          </a:p>
        </p:txBody>
      </p:sp>
      <p:sp>
        <p:nvSpPr>
          <p:cNvPr id="36" name="Text Placeholder 29">
            <a:extLst>
              <a:ext uri="{FF2B5EF4-FFF2-40B4-BE49-F238E27FC236}">
                <a16:creationId xmlns:a16="http://schemas.microsoft.com/office/drawing/2014/main" id="{36E4A95E-FECE-E840-B485-8E67253F64AD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288190" y="4908732"/>
            <a:ext cx="1981200" cy="12854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US"/>
          </a:p>
        </p:txBody>
      </p:sp>
      <p:sp>
        <p:nvSpPr>
          <p:cNvPr id="37" name="Text Placeholder 29">
            <a:extLst>
              <a:ext uri="{FF2B5EF4-FFF2-40B4-BE49-F238E27FC236}">
                <a16:creationId xmlns:a16="http://schemas.microsoft.com/office/drawing/2014/main" id="{85C7B5D8-69AC-C94E-BE68-BC5FDB49C0BE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6096000" y="4908732"/>
            <a:ext cx="1981200" cy="12854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US"/>
          </a:p>
        </p:txBody>
      </p:sp>
      <p:sp>
        <p:nvSpPr>
          <p:cNvPr id="38" name="Text Placeholder 29">
            <a:extLst>
              <a:ext uri="{FF2B5EF4-FFF2-40B4-BE49-F238E27FC236}">
                <a16:creationId xmlns:a16="http://schemas.microsoft.com/office/drawing/2014/main" id="{322F6CCD-82BD-3C4A-B329-20AD017A3C3D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8904447" y="4908732"/>
            <a:ext cx="1981200" cy="12854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476108F-33CE-0843-BE0F-7455085C29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D47492-192B-8445-B86F-C55E58AED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476109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dividers_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C2665A5-DCD0-FA45-B1F7-C197111F4B94}"/>
              </a:ext>
            </a:extLst>
          </p:cNvPr>
          <p:cNvGrpSpPr/>
          <p:nvPr userDrawn="1"/>
        </p:nvGrpSpPr>
        <p:grpSpPr>
          <a:xfrm>
            <a:off x="0" y="1"/>
            <a:ext cx="12192000" cy="6857999"/>
            <a:chOff x="0" y="1"/>
            <a:chExt cx="12192000" cy="685799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A046575-1317-E540-95C3-89C5554BB1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412" b="5698"/>
            <a:stretch/>
          </p:blipFill>
          <p:spPr>
            <a:xfrm rot="10800000">
              <a:off x="0" y="1"/>
              <a:ext cx="12192000" cy="6857999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4008490-9741-5947-8D15-1A5C66A3814E}"/>
                </a:ext>
              </a:extLst>
            </p:cNvPr>
            <p:cNvSpPr/>
            <p:nvPr userDrawn="1"/>
          </p:nvSpPr>
          <p:spPr>
            <a:xfrm>
              <a:off x="2012623" y="2799761"/>
              <a:ext cx="2318993" cy="1225484"/>
            </a:xfrm>
            <a:prstGeom prst="rect">
              <a:avLst/>
            </a:prstGeom>
            <a:solidFill>
              <a:srgbClr val="3327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020A9645-8263-484B-84B8-76F33FE321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51228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B35108-3828-0E4E-9EFE-E1EB6E6201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B7134F-D4AF-6D4A-931B-A397F1EF00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tx2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E178BA0-74D9-FD48-AB42-E6EB5A84C812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4095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+ Number_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F1DB288-0772-574D-B40E-CFF3ACA641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576" y="2457092"/>
            <a:ext cx="9829650" cy="2888528"/>
          </a:xfrm>
          <a:prstGeom prst="rect">
            <a:avLst/>
          </a:prstGeom>
        </p:spPr>
        <p:txBody>
          <a:bodyPr numCol="2" spcCol="360000"/>
          <a:lstStyle>
            <a:lvl1pPr marL="514350" indent="-514350">
              <a:buFont typeface="+mj-lt"/>
              <a:buAutoNum type="arabicPeriod"/>
              <a:defRPr sz="2400" b="1" i="0">
                <a:solidFill>
                  <a:schemeClr val="bg1"/>
                </a:solidFill>
                <a:latin typeface="Berlingske Sans Extrabold" panose="0200070305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6A31847-2AF0-294D-B916-4692771CFC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5F57E24-57E5-C046-B836-FC92453958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9DA518-22DE-1A47-8F2F-A5D76F5086E3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756341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n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79E6D0E7-7A46-BC45-AA8C-B241A6C2D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845556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4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2732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41900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56475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64749" y="2705709"/>
            <a:ext cx="2047875" cy="9293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664749" y="3635078"/>
            <a:ext cx="2047875" cy="60891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94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2732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41901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76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664750" y="4315830"/>
            <a:ext cx="1798262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83659E5-8EF4-8A45-9F24-1B4AE93498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4A39888-A38A-C748-9494-521D2E8B35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FBACED0-7913-D64A-A95E-D46CAD95732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914153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ed Contents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A5E16E6-BA0E-E940-ABAB-A4154607E7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81273F2-0716-ED49-BB3A-EA8327F72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3EAE337-B44B-6041-919A-F55CBF3FCC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2732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2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476BCA-12DB-5D48-9F1C-B9E8160CC3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2732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0F5C27E-1E13-5B49-84B5-AB1560D629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4190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3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762934D-4392-8D47-8676-50F6707615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4190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548E997-1AF2-A647-B8BA-A793421874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475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4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1CB5937-10FE-2740-867C-1E87B179A3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56475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21BD80-03A8-C448-9A1B-F1758C1412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71050" y="2401152"/>
            <a:ext cx="2047875" cy="1386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500" b="1" i="0">
                <a:solidFill>
                  <a:schemeClr val="accent1"/>
                </a:solidFill>
                <a:latin typeface="Berlingske Sans Extrabold" panose="02000703050000020004" pitchFamily="2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F73E35A-BF7B-FA4F-9589-2BD06149DD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71050" y="4053680"/>
            <a:ext cx="2047875" cy="70266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b="1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C95E2CDE-FBF7-464E-9E91-6C9CFD0DB1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47AE451-6785-9B45-BFB2-863CD1FC15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2732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5A147A8-5544-0E49-8289-9955A2B9FCD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4190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DE38488B-25E7-4F45-B161-99121F53361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56476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40A7AFE-F644-7247-92E7-D4DBDE71ED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671051" y="4822125"/>
            <a:ext cx="1839825" cy="11211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text her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41B1A03-019A-AB4A-A0D2-E5A27CD2D1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4800" y="6415200"/>
            <a:ext cx="761489" cy="183600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FDF115AB-6674-FE4C-8735-47E1C203E8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4" y="385658"/>
            <a:ext cx="11233149" cy="7347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ontents</a:t>
            </a:r>
            <a:endParaRPr lang="en-GB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58BE716E-539C-3A49-AEFA-0606608D47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1948507"/>
            <a:ext cx="11239500" cy="258104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F7CBBA4-A7DA-E941-A979-7B0AAA4FF14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9346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2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28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6.xml"/><Relationship Id="rId9" Type="http://schemas.openxmlformats.org/officeDocument/2006/relationships/theme" Target="../theme/theme1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2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1" y="1825625"/>
            <a:ext cx="8424228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6523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65F2E23-5EC8-C94E-B97E-32F2762D3F3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BED6A09C-5802-4C99-B07E-5346B30353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637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3" r:id="rId1"/>
    <p:sldLayoutId id="2147485094" r:id="rId2"/>
    <p:sldLayoutId id="2147485095" r:id="rId3"/>
    <p:sldLayoutId id="2147485096" r:id="rId4"/>
    <p:sldLayoutId id="2147485097" r:id="rId5"/>
    <p:sldLayoutId id="2147485098" r:id="rId6"/>
    <p:sldLayoutId id="2147485099" r:id="rId7"/>
    <p:sldLayoutId id="2147485100" r:id="rId8"/>
    <p:sldLayoutId id="2147485101" r:id="rId9"/>
    <p:sldLayoutId id="2147485102" r:id="rId10"/>
    <p:sldLayoutId id="2147485103" r:id="rId11"/>
    <p:sldLayoutId id="2147485104" r:id="rId12"/>
    <p:sldLayoutId id="2147485105" r:id="rId13"/>
    <p:sldLayoutId id="2147485106" r:id="rId14"/>
    <p:sldLayoutId id="2147485107" r:id="rId15"/>
    <p:sldLayoutId id="2147485108" r:id="rId16"/>
    <p:sldLayoutId id="2147485109" r:id="rId17"/>
    <p:sldLayoutId id="2147485110" r:id="rId18"/>
    <p:sldLayoutId id="2147485111" r:id="rId19"/>
    <p:sldLayoutId id="2147485112" r:id="rId20"/>
    <p:sldLayoutId id="2147485113" r:id="rId21"/>
    <p:sldLayoutId id="2147485114" r:id="rId22"/>
    <p:sldLayoutId id="2147485115" r:id="rId23"/>
    <p:sldLayoutId id="2147485116" r:id="rId24"/>
    <p:sldLayoutId id="2147485117" r:id="rId25"/>
    <p:sldLayoutId id="2147485118" r:id="rId26"/>
    <p:sldLayoutId id="2147485119" r:id="rId27"/>
    <p:sldLayoutId id="2147485120" r:id="rId28"/>
    <p:sldLayoutId id="2147485121" r:id="rId29"/>
    <p:sldLayoutId id="2147485122" r:id="rId3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10095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379FF2-2068-B14E-BA69-71BEE3749B3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79C17D-A962-324B-8A55-4A50002AA738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1225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0" r:id="rId1"/>
    <p:sldLayoutId id="2147485151" r:id="rId2"/>
    <p:sldLayoutId id="2147485152" r:id="rId3"/>
    <p:sldLayoutId id="2147485153" r:id="rId4"/>
    <p:sldLayoutId id="214748515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US"/>
              <a:t>This is the foot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10095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379FF2-2068-B14E-BA69-71BEE3749B3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79C17D-A962-324B-8A55-4A50002AA738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4429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7" r:id="rId1"/>
    <p:sldLayoutId id="2147485158" r:id="rId2"/>
    <p:sldLayoutId id="2147485159" r:id="rId3"/>
    <p:sldLayoutId id="2147485160" r:id="rId4"/>
    <p:sldLayoutId id="2147485161" r:id="rId5"/>
    <p:sldLayoutId id="2147485162" r:id="rId6"/>
    <p:sldLayoutId id="2147485163" r:id="rId7"/>
    <p:sldLayoutId id="2147485164" r:id="rId8"/>
    <p:sldLayoutId id="214748516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10095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</p:spTree>
    <p:extLst>
      <p:ext uri="{BB962C8B-B14F-4D97-AF65-F5344CB8AC3E}">
        <p14:creationId xmlns:p14="http://schemas.microsoft.com/office/powerpoint/2010/main" val="2575219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8" r:id="rId1"/>
    <p:sldLayoutId id="2147485169" r:id="rId2"/>
    <p:sldLayoutId id="2147485170" r:id="rId3"/>
    <p:sldLayoutId id="2147485171" r:id="rId4"/>
    <p:sldLayoutId id="2147485172" r:id="rId5"/>
    <p:sldLayoutId id="2147485173" r:id="rId6"/>
    <p:sldLayoutId id="2147485174" r:id="rId7"/>
    <p:sldLayoutId id="2147485175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10095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379FF2-2068-B14E-BA69-71BEE3749B3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79C17D-A962-324B-8A55-4A50002AA738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243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5" r:id="rId1"/>
    <p:sldLayoutId id="2147485126" r:id="rId2"/>
    <p:sldLayoutId id="2147485127" r:id="rId3"/>
    <p:sldLayoutId id="2147485128" r:id="rId4"/>
    <p:sldLayoutId id="2147485129" r:id="rId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US"/>
              <a:t>PRIVATE &amp;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6523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DD022E6-556F-914C-8D4F-2B0D2C011659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927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33" r:id="rId3"/>
    <p:sldLayoutId id="2147485134" r:id="rId4"/>
    <p:sldLayoutId id="2147485135" r:id="rId5"/>
    <p:sldLayoutId id="2147485136" r:id="rId6"/>
    <p:sldLayoutId id="2147485137" r:id="rId7"/>
    <p:sldLayoutId id="2147485138" r:id="rId8"/>
    <p:sldLayoutId id="2147485139" r:id="rId9"/>
    <p:sldLayoutId id="2147485140" r:id="rId10"/>
    <p:sldLayoutId id="2147485141" r:id="rId11"/>
    <p:sldLayoutId id="2147485142" r:id="rId12"/>
    <p:sldLayoutId id="2147485143" r:id="rId13"/>
    <p:sldLayoutId id="2147485144" r:id="rId14"/>
    <p:sldLayoutId id="2147485145" r:id="rId15"/>
    <p:sldLayoutId id="2147485146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10095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379FF2-2068-B14E-BA69-71BEE3749B3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79C17D-A962-324B-8A55-4A50002AA738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193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4" r:id="rId1"/>
    <p:sldLayoutId id="2147484723" r:id="rId2"/>
    <p:sldLayoutId id="2147484725" r:id="rId3"/>
    <p:sldLayoutId id="2147484726" r:id="rId4"/>
    <p:sldLayoutId id="2147484727" r:id="rId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10095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</p:spTree>
    <p:extLst>
      <p:ext uri="{BB962C8B-B14F-4D97-AF65-F5344CB8AC3E}">
        <p14:creationId xmlns:p14="http://schemas.microsoft.com/office/powerpoint/2010/main" val="514466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10095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</p:spTree>
    <p:extLst>
      <p:ext uri="{BB962C8B-B14F-4D97-AF65-F5344CB8AC3E}">
        <p14:creationId xmlns:p14="http://schemas.microsoft.com/office/powerpoint/2010/main" val="3787965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8" r:id="rId1"/>
    <p:sldLayoutId id="2147484580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1" y="1825625"/>
            <a:ext cx="8424228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6523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65F2E23-5EC8-C94E-B97E-32F2762D3F3E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6595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7" r:id="rId1"/>
    <p:sldLayoutId id="2147484998" r:id="rId2"/>
    <p:sldLayoutId id="2147484999" r:id="rId3"/>
    <p:sldLayoutId id="2147485000" r:id="rId4"/>
    <p:sldLayoutId id="2147485001" r:id="rId5"/>
    <p:sldLayoutId id="2147485002" r:id="rId6"/>
    <p:sldLayoutId id="2147485003" r:id="rId7"/>
    <p:sldLayoutId id="2147485004" r:id="rId8"/>
    <p:sldLayoutId id="2147485005" r:id="rId9"/>
    <p:sldLayoutId id="2147485006" r:id="rId10"/>
    <p:sldLayoutId id="2147485007" r:id="rId11"/>
    <p:sldLayoutId id="2147485008" r:id="rId12"/>
    <p:sldLayoutId id="2147485009" r:id="rId13"/>
    <p:sldLayoutId id="2147485010" r:id="rId14"/>
    <p:sldLayoutId id="2147485011" r:id="rId15"/>
    <p:sldLayoutId id="2147485012" r:id="rId16"/>
    <p:sldLayoutId id="2147485013" r:id="rId17"/>
    <p:sldLayoutId id="2147485014" r:id="rId18"/>
    <p:sldLayoutId id="2147485015" r:id="rId19"/>
    <p:sldLayoutId id="2147485016" r:id="rId20"/>
    <p:sldLayoutId id="2147485017" r:id="rId21"/>
    <p:sldLayoutId id="2147485018" r:id="rId22"/>
    <p:sldLayoutId id="2147485019" r:id="rId23"/>
    <p:sldLayoutId id="2147485020" r:id="rId24"/>
    <p:sldLayoutId id="2147485021" r:id="rId25"/>
    <p:sldLayoutId id="2147485022" r:id="rId26"/>
    <p:sldLayoutId id="2147485023" r:id="rId27"/>
    <p:sldLayoutId id="2147485024" r:id="rId28"/>
    <p:sldLayoutId id="2147485025" r:id="rId29"/>
    <p:sldLayoutId id="2147485026" r:id="rId3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10095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379FF2-2068-B14E-BA69-71BEE3749B3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3505" y="6405183"/>
            <a:ext cx="759070" cy="18301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79C17D-A962-324B-8A55-4A50002AA738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1882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9" r:id="rId1"/>
    <p:sldLayoutId id="2147485030" r:id="rId2"/>
    <p:sldLayoutId id="2147485031" r:id="rId3"/>
    <p:sldLayoutId id="2147485032" r:id="rId4"/>
    <p:sldLayoutId id="2147485033" r:id="rId5"/>
    <p:sldLayoutId id="2147485034" r:id="rId6"/>
    <p:sldLayoutId id="2147485035" r:id="rId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F4E1C1-2B6A-7C4B-98FC-6C58B3305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0060" y="6356350"/>
            <a:ext cx="87555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fld id="{71A6133F-7122-9743-BB3D-D2181A8BA09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634E86-5EFF-1F47-A3E0-DEE35660D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362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79CB-1A24-6E42-B36B-D0478FD0B9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1825625"/>
            <a:ext cx="9829165" cy="4325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your first part of your text, this is the first level</a:t>
            </a:r>
          </a:p>
          <a:p>
            <a:pPr lvl="1"/>
            <a:r>
              <a:rPr lang="en-US"/>
              <a:t>Press Tab to show the  second level</a:t>
            </a:r>
          </a:p>
          <a:p>
            <a:pPr lvl="2"/>
            <a:r>
              <a:rPr lang="en-US"/>
              <a:t>Press Tab to show the third level</a:t>
            </a:r>
          </a:p>
          <a:p>
            <a:pPr lvl="3"/>
            <a:r>
              <a:rPr lang="en-US"/>
              <a:t>Press Tab to show fourth level</a:t>
            </a:r>
          </a:p>
          <a:p>
            <a:pPr lvl="4"/>
            <a:r>
              <a:rPr lang="en-US"/>
              <a:t>Press Tab to show the fifth level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0A95E225-9B0A-8E45-8C2C-A1B808B89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365125"/>
            <a:ext cx="9828000" cy="6523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create a title header line of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DD022E6-556F-914C-8D4F-2B0D2C011659}"/>
              </a:ext>
            </a:extLst>
          </p:cNvPr>
          <p:cNvCxnSpPr>
            <a:cxnSpLocks/>
          </p:cNvCxnSpPr>
          <p:nvPr userDrawn="1"/>
        </p:nvCxnSpPr>
        <p:spPr>
          <a:xfrm>
            <a:off x="467313" y="1017454"/>
            <a:ext cx="1124526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3022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7" r:id="rId1"/>
    <p:sldLayoutId id="2147485038" r:id="rId2"/>
    <p:sldLayoutId id="2147485039" r:id="rId3"/>
    <p:sldLayoutId id="2147485040" r:id="rId4"/>
    <p:sldLayoutId id="2147485041" r:id="rId5"/>
    <p:sldLayoutId id="2147485042" r:id="rId6"/>
    <p:sldLayoutId id="2147485043" r:id="rId7"/>
    <p:sldLayoutId id="2147485044" r:id="rId8"/>
    <p:sldLayoutId id="2147485045" r:id="rId9"/>
    <p:sldLayoutId id="2147485046" r:id="rId10"/>
    <p:sldLayoutId id="2147485047" r:id="rId11"/>
    <p:sldLayoutId id="2147485048" r:id="rId12"/>
    <p:sldLayoutId id="2147485049" r:id="rId13"/>
    <p:sldLayoutId id="2147485050" r:id="rId14"/>
    <p:sldLayoutId id="2147485051" r:id="rId15"/>
    <p:sldLayoutId id="2147485052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Berlingske Sans Extrabold" panose="0200070305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•"/>
        <a:defRPr sz="1800" b="0" i="0" kern="1200">
          <a:solidFill>
            <a:schemeClr val="tx2"/>
          </a:solidFill>
          <a:latin typeface="Source Sans Pro" panose="020B05030304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6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4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0"/>
        </a:spcAft>
        <a:buClr>
          <a:schemeClr val="accent1"/>
        </a:buClr>
        <a:buSzPct val="100000"/>
        <a:buFont typeface=".AppleSystemUIFont"/>
        <a:buChar char="–"/>
        <a:defRPr sz="1200" b="0" i="0" kern="1200">
          <a:solidFill>
            <a:schemeClr val="accent5"/>
          </a:solidFill>
          <a:latin typeface="Source Sans Pro" panose="020B05030304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840">
          <p15:clr>
            <a:srgbClr val="F26B43"/>
          </p15:clr>
        </p15:guide>
        <p15:guide id="5" pos="2071">
          <p15:clr>
            <a:srgbClr val="F26B43"/>
          </p15:clr>
        </p15:guide>
        <p15:guide id="6" pos="5609">
          <p15:clr>
            <a:srgbClr val="F26B43"/>
          </p15:clr>
        </p15:guide>
        <p15:guide id="7" pos="6494">
          <p15:clr>
            <a:srgbClr val="F26B43"/>
          </p15:clr>
        </p15:guide>
        <p15:guide id="8" pos="1186">
          <p15:clr>
            <a:srgbClr val="F26B43"/>
          </p15:clr>
        </p15:guide>
        <p15:guide id="9" pos="2955">
          <p15:clr>
            <a:srgbClr val="F26B43"/>
          </p15:clr>
        </p15:guide>
        <p15:guide id="10" pos="4725">
          <p15:clr>
            <a:srgbClr val="F26B43"/>
          </p15:clr>
        </p15:guide>
        <p15:guide id="11" orient="horz" pos="482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3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3.xml"/><Relationship Id="rId6" Type="http://schemas.microsoft.com/office/2007/relationships/hdphoto" Target="../media/hdphoto3.wdp"/><Relationship Id="rId5" Type="http://schemas.openxmlformats.org/officeDocument/2006/relationships/image" Target="../media/image13.png"/><Relationship Id="rId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Feign/feign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A picture containing sitting, table, white, cake&#10;&#10;Description automatically generated">
            <a:extLst>
              <a:ext uri="{FF2B5EF4-FFF2-40B4-BE49-F238E27FC236}">
                <a16:creationId xmlns:a16="http://schemas.microsoft.com/office/drawing/2014/main" id="{9F45B1A0-CAF8-4E41-B6DF-4B00C9D3421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29730" t="-10382" r="-2702" b="-2049"/>
          <a:stretch/>
        </p:blipFill>
        <p:spPr>
          <a:xfrm>
            <a:off x="1158396" y="1962434"/>
            <a:ext cx="2468880" cy="2467389"/>
          </a:xfrm>
          <a:solidFill>
            <a:schemeClr val="tx2">
              <a:lumMod val="50000"/>
              <a:lumOff val="50000"/>
            </a:schemeClr>
          </a:solidFill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17EFCF1-0372-4A7D-BAAE-978C0B9B30D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D36F40-3A33-46D8-9B9F-23CB3E6786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e declarative web service clien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86AEB8E-107A-479E-A8BF-0B820713D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Feign</a:t>
            </a:r>
            <a:endParaRPr lang="en-US" dirty="0"/>
          </a:p>
        </p:txBody>
      </p:sp>
      <p:pic>
        <p:nvPicPr>
          <p:cNvPr id="2059" name="Picture Placeholder 2058" descr="A picture containing graphics, drawing&#10;&#10;Description automatically generated">
            <a:extLst>
              <a:ext uri="{FF2B5EF4-FFF2-40B4-BE49-F238E27FC236}">
                <a16:creationId xmlns:a16="http://schemas.microsoft.com/office/drawing/2014/main" id="{1B82BC03-AD4F-4497-A7BF-C8B5AE6EFB5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81000"/>
                    </a14:imgEffect>
                  </a14:imgLayer>
                </a14:imgProps>
              </a:ext>
            </a:extLst>
          </a:blip>
          <a:srcRect l="2398" t="2398" r="2398" b="2398"/>
          <a:stretch/>
        </p:blipFill>
        <p:spPr>
          <a:xfrm>
            <a:off x="966528" y="3776361"/>
            <a:ext cx="609384" cy="609384"/>
          </a:xfrm>
        </p:spPr>
      </p:pic>
      <p:pic>
        <p:nvPicPr>
          <p:cNvPr id="2061" name="Picture Placeholder 2060" descr="A close up of a logo&#10;&#10;Description automatically generated">
            <a:extLst>
              <a:ext uri="{FF2B5EF4-FFF2-40B4-BE49-F238E27FC236}">
                <a16:creationId xmlns:a16="http://schemas.microsoft.com/office/drawing/2014/main" id="{88355965-089A-49A0-97DE-9187568C2BE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l="-21532" t="-21532" r="-21532" b="-21532"/>
          <a:stretch/>
        </p:blipFill>
        <p:spPr>
          <a:xfrm>
            <a:off x="770301" y="3161360"/>
            <a:ext cx="392453" cy="392453"/>
          </a:xfrm>
        </p:spPr>
      </p:pic>
    </p:spTree>
    <p:extLst>
      <p:ext uri="{BB962C8B-B14F-4D97-AF65-F5344CB8AC3E}">
        <p14:creationId xmlns:p14="http://schemas.microsoft.com/office/powerpoint/2010/main" val="39105223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1143A6A-DF7D-48D0-822B-EB37FD643E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00935" y="1844567"/>
            <a:ext cx="4211637" cy="591762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A2DE4CF-BC5B-49E8-98E8-A213D8960F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00936" y="2735996"/>
            <a:ext cx="4211637" cy="2508800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dirty="0"/>
              <a:t>What is Feign</a:t>
            </a:r>
          </a:p>
          <a:p>
            <a:pPr marL="342900" indent="-342900">
              <a:buAutoNum type="arabicPeriod"/>
            </a:pPr>
            <a:r>
              <a:rPr lang="en-US" dirty="0"/>
              <a:t>Why Feign</a:t>
            </a:r>
          </a:p>
          <a:p>
            <a:pPr marL="342900" indent="-342900">
              <a:buAutoNum type="arabicPeriod"/>
            </a:pPr>
            <a:r>
              <a:rPr lang="en-US" dirty="0"/>
              <a:t>Demo</a:t>
            </a:r>
          </a:p>
          <a:p>
            <a:pPr marL="342900" indent="-342900">
              <a:buAutoNum type="arabicPeriod"/>
            </a:pPr>
            <a:r>
              <a:rPr lang="en-US" dirty="0"/>
              <a:t>How we use it in </a:t>
            </a:r>
            <a:r>
              <a:rPr lang="en-US" dirty="0" err="1"/>
              <a:t>Resttest</a:t>
            </a:r>
            <a:endParaRPr lang="en-US" dirty="0"/>
          </a:p>
          <a:p>
            <a:pPr marL="342900" indent="-342900"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64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3C2E3B-C019-476E-BFF4-82278B183D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numCol="1"/>
          <a:lstStyle/>
          <a:p>
            <a:r>
              <a:rPr lang="en-US" dirty="0"/>
              <a:t>Opensource - </a:t>
            </a:r>
            <a:r>
              <a:rPr lang="en-US" dirty="0">
                <a:hlinkClick r:id="rId3"/>
              </a:rPr>
              <a:t>https://github.com/OpenFeign/feign</a:t>
            </a:r>
            <a:endParaRPr lang="en-US" dirty="0"/>
          </a:p>
          <a:p>
            <a:r>
              <a:rPr lang="en-US" dirty="0"/>
              <a:t>API Consumer</a:t>
            </a:r>
          </a:p>
          <a:p>
            <a:pPr lvl="1"/>
            <a:r>
              <a:rPr lang="en-US" dirty="0"/>
              <a:t>REST</a:t>
            </a:r>
          </a:p>
          <a:p>
            <a:pPr lvl="1"/>
            <a:r>
              <a:rPr lang="en-US" dirty="0"/>
              <a:t>SOAP</a:t>
            </a:r>
          </a:p>
          <a:p>
            <a:r>
              <a:rPr lang="en-US" dirty="0"/>
              <a:t>Declarative programming</a:t>
            </a:r>
          </a:p>
          <a:p>
            <a:pPr lvl="1"/>
            <a:r>
              <a:rPr lang="en-US" dirty="0"/>
              <a:t>Annotations</a:t>
            </a:r>
          </a:p>
          <a:p>
            <a:pPr lvl="1"/>
            <a:r>
              <a:rPr lang="en-US" dirty="0"/>
              <a:t>Java configuration</a:t>
            </a:r>
          </a:p>
          <a:p>
            <a:pPr lvl="1"/>
            <a:r>
              <a:rPr lang="en-US" dirty="0"/>
              <a:t>.</a:t>
            </a:r>
            <a:r>
              <a:rPr lang="en-US" dirty="0" err="1"/>
              <a:t>yml</a:t>
            </a:r>
            <a:r>
              <a:rPr lang="en-US" dirty="0"/>
              <a:t> configur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C8028A5-8BAD-4C73-94D4-7CF042DC87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is Feig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FDA809-47F6-44B4-AB31-69E3F46FD803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3257550" cy="365125"/>
          </a:xfrm>
        </p:spPr>
        <p:txBody>
          <a:bodyPr/>
          <a:lstStyle/>
          <a:p>
            <a:r>
              <a:rPr lang="en-US"/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9225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DAB4DD-9E74-40F4-9078-3CFBCFA711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4" y="1726812"/>
            <a:ext cx="9829650" cy="4128644"/>
          </a:xfrm>
        </p:spPr>
        <p:txBody>
          <a:bodyPr numCol="1"/>
          <a:lstStyle/>
          <a:p>
            <a:r>
              <a:rPr lang="en-US" dirty="0"/>
              <a:t>Fast to integrate</a:t>
            </a:r>
          </a:p>
          <a:p>
            <a:r>
              <a:rPr lang="en-US" dirty="0"/>
              <a:t>Easy to work with / configure / maintain</a:t>
            </a:r>
          </a:p>
          <a:p>
            <a:r>
              <a:rPr lang="en-US" dirty="0"/>
              <a:t>Eureka discovery client integration -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spring-cloud-starter-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tflix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eureka-client</a:t>
            </a:r>
          </a:p>
          <a:p>
            <a:r>
              <a:rPr lang="en-US" dirty="0"/>
              <a:t>Ribbon is client side load balancer -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spring-cloud-starter-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tflix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-ribbon</a:t>
            </a:r>
          </a:p>
          <a:p>
            <a:r>
              <a:rPr lang="en-US" b="0" dirty="0"/>
              <a:t>Circuit breaker pattern -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feign.hystrix.enabled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=true</a:t>
            </a:r>
          </a:p>
          <a:p>
            <a:r>
              <a:rPr lang="en-US" b="0" dirty="0"/>
              <a:t>Spring MVC annotations 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FBBD39-A836-46D8-AE50-3A7341D51A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y Feign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C695BB6D-5261-46B7-A6E7-C85811999A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7F7F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Roboto"/>
              </a:rPr>
              <a:t>Hystrix is on the classpath and 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Droid Sans Mono"/>
              </a:rPr>
              <a:t>feign.hystrix.enabled=true</a:t>
            </a: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424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55478B8-D205-4A2F-BC0A-C50CDF48E6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numCol="1"/>
          <a:lstStyle/>
          <a:p>
            <a:r>
              <a:rPr lang="en-US" dirty="0"/>
              <a:t>Eureka Server</a:t>
            </a:r>
          </a:p>
          <a:p>
            <a:r>
              <a:rPr lang="en-US" dirty="0"/>
              <a:t>Spring Boot Rest Application – with multiple instances</a:t>
            </a:r>
          </a:p>
          <a:p>
            <a:r>
              <a:rPr lang="en-US" dirty="0"/>
              <a:t>Spring Boot Feign Client Application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72AB1D9-1129-4C9D-B186-AE64E9D71C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7564419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FFC0F132-D858-488F-933B-E6DCD5F043D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5070"/>
          <a:stretch/>
        </p:blipFill>
        <p:spPr>
          <a:xfrm>
            <a:off x="1672823" y="1639142"/>
            <a:ext cx="7381875" cy="384048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5C94E8-55B2-4E83-80FD-3DA693F9749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5BEBF987-906F-4D62-83C6-38C499995B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5073"/>
          <a:stretch/>
        </p:blipFill>
        <p:spPr>
          <a:xfrm>
            <a:off x="1672823" y="1639142"/>
            <a:ext cx="7381875" cy="3840480"/>
          </a:xfrm>
          <a:prstGeom prst="rect">
            <a:avLst/>
          </a:prstGeom>
        </p:spPr>
      </p:pic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A1AA7173-8D0D-4838-8C90-34CE1FB723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5073"/>
          <a:stretch/>
        </p:blipFill>
        <p:spPr>
          <a:xfrm>
            <a:off x="1672824" y="1639142"/>
            <a:ext cx="7381875" cy="38404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B820840-5266-48F4-B94C-BBCF8A97F876}"/>
              </a:ext>
            </a:extLst>
          </p:cNvPr>
          <p:cNvSpPr txBox="1"/>
          <p:nvPr/>
        </p:nvSpPr>
        <p:spPr>
          <a:xfrm>
            <a:off x="1555423" y="4251488"/>
            <a:ext cx="1517716" cy="369332"/>
          </a:xfrm>
          <a:prstGeom prst="rect">
            <a:avLst/>
          </a:prstGeom>
          <a:solidFill>
            <a:srgbClr val="2C234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/get-version</a:t>
            </a:r>
          </a:p>
        </p:txBody>
      </p:sp>
    </p:spTree>
    <p:extLst>
      <p:ext uri="{BB962C8B-B14F-4D97-AF65-F5344CB8AC3E}">
        <p14:creationId xmlns:p14="http://schemas.microsoft.com/office/powerpoint/2010/main" val="1491503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FC0F132-D858-488F-933B-E6DCD5F043D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84413" y="1525232"/>
            <a:ext cx="6137331" cy="494711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5C94E8-55B2-4E83-80FD-3DA693F9749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BEBF987-906F-4D62-83C6-38C499995B5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284413" y="1525232"/>
            <a:ext cx="6137331" cy="494711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1AA7173-8D0D-4838-8C90-34CE1FB723E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284414" y="1525232"/>
            <a:ext cx="6137331" cy="494711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B820840-5266-48F4-B94C-BBCF8A97F876}"/>
              </a:ext>
            </a:extLst>
          </p:cNvPr>
          <p:cNvSpPr txBox="1"/>
          <p:nvPr/>
        </p:nvSpPr>
        <p:spPr>
          <a:xfrm>
            <a:off x="2053363" y="3726387"/>
            <a:ext cx="1517716" cy="369332"/>
          </a:xfrm>
          <a:prstGeom prst="rect">
            <a:avLst/>
          </a:prstGeom>
          <a:solidFill>
            <a:srgbClr val="2C234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/authorize</a:t>
            </a:r>
          </a:p>
        </p:txBody>
      </p:sp>
    </p:spTree>
    <p:extLst>
      <p:ext uri="{BB962C8B-B14F-4D97-AF65-F5344CB8AC3E}">
        <p14:creationId xmlns:p14="http://schemas.microsoft.com/office/powerpoint/2010/main" val="912329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5D4F1B4-7FAC-4866-844E-CD9AD2AD89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EST client</a:t>
            </a:r>
          </a:p>
          <a:p>
            <a:r>
              <a:rPr lang="en-US" dirty="0"/>
              <a:t>SOAP clie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3D4EC6-F925-47DA-9CB2-448CA4C264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ow we use it in </a:t>
            </a:r>
            <a:r>
              <a:rPr lang="en-US" dirty="0" err="1"/>
              <a:t>Resttest</a:t>
            </a:r>
            <a:endParaRPr lang="en-US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34AD056B-0CAB-4128-9956-0E0CDEBFA2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22034">
            <a:off x="5205728" y="1893749"/>
            <a:ext cx="6425355" cy="4268709"/>
          </a:xfrm>
          <a:prstGeom prst="rect">
            <a:avLst/>
          </a:prstGeom>
        </p:spPr>
      </p:pic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24B1FD12-537E-421E-AFD8-DBD5AB6570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9894618">
            <a:off x="4958904" y="3374276"/>
            <a:ext cx="6626286" cy="2212749"/>
          </a:xfrm>
          <a:prstGeom prst="rect">
            <a:avLst/>
          </a:prstGeom>
        </p:spPr>
      </p:pic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27988604-7B9E-46D2-A14A-7075BE6E5C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094437">
            <a:off x="4014124" y="1500779"/>
            <a:ext cx="6724156" cy="3231627"/>
          </a:xfrm>
          <a:prstGeom prst="rect">
            <a:avLst/>
          </a:prstGeom>
        </p:spPr>
      </p:pic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E12CC37C-66FC-4B3A-B4FB-BF24EFA484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408043">
            <a:off x="5613739" y="2829136"/>
            <a:ext cx="6658929" cy="1666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75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FD95F3-5457-4F7D-9756-42A05A89C6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813195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8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3 White Background - Content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60DFDE2-F547-EF40-95C4-5E97C0A59871}" vid="{31B94BB3-581F-E940-B5BD-C79C43B7583F}"/>
    </a:ext>
  </a:extLst>
</a:theme>
</file>

<file path=ppt/theme/theme10.xml><?xml version="1.0" encoding="utf-8"?>
<a:theme xmlns:a="http://schemas.openxmlformats.org/drawingml/2006/main" name="3_2 Contents Intro page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40000"/>
            <a:lumOff val="60000"/>
          </a:schemeClr>
        </a:solidFill>
        <a:ln>
          <a:solidFill>
            <a:schemeClr val="accent1">
              <a:lumMod val="40000"/>
              <a:lumOff val="60000"/>
            </a:schemeClr>
          </a:solidFill>
        </a:ln>
      </a:spPr>
      <a:bodyPr rtlCol="0" anchor="ctr"/>
      <a:lstStyle>
        <a:defPPr algn="ctr">
          <a:defRPr sz="1067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E60DFDE2-F547-EF40-95C4-5E97C0A59871}" vid="{0B91DE77-EB8D-EE46-B5E4-D8E6EEDEBE70}"/>
    </a:ext>
  </a:extLst>
</a:theme>
</file>

<file path=ppt/theme/theme11.xml><?xml version="1.0" encoding="utf-8"?>
<a:theme xmlns:a="http://schemas.openxmlformats.org/drawingml/2006/main" name="4_2 Contents Intro page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60DFDE2-F547-EF40-95C4-5E97C0A59871}" vid="{0B91DE77-EB8D-EE46-B5E4-D8E6EEDEBE70}"/>
    </a:ext>
  </a:extLst>
</a:theme>
</file>

<file path=ppt/theme/theme12.xml><?xml version="1.0" encoding="utf-8"?>
<a:theme xmlns:a="http://schemas.openxmlformats.org/drawingml/2006/main" name="7 Content - Coloured curved page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60DFDE2-F547-EF40-95C4-5E97C0A59871}" vid="{480604BD-33DA-894C-A79E-8DE88C268277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2 Contents Intro page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40000"/>
            <a:lumOff val="60000"/>
          </a:schemeClr>
        </a:solidFill>
        <a:ln>
          <a:solidFill>
            <a:schemeClr val="accent1">
              <a:lumMod val="40000"/>
              <a:lumOff val="60000"/>
            </a:schemeClr>
          </a:solidFill>
        </a:ln>
      </a:spPr>
      <a:bodyPr rtlCol="0" anchor="ctr"/>
      <a:lstStyle>
        <a:defPPr algn="ctr">
          <a:defRPr sz="1067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E60DFDE2-F547-EF40-95C4-5E97C0A59871}" vid="{0B91DE77-EB8D-EE46-B5E4-D8E6EEDEBE70}"/>
    </a:ext>
  </a:extLst>
</a:theme>
</file>

<file path=ppt/theme/theme3.xml><?xml version="1.0" encoding="utf-8"?>
<a:theme xmlns:a="http://schemas.openxmlformats.org/drawingml/2006/main" name="2_6 Content - Bespoke layout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60DFDE2-F547-EF40-95C4-5E97C0A59871}" vid="{4DC2BFD2-81A7-2A40-833F-3181AC4A15F2}"/>
    </a:ext>
  </a:extLst>
</a:theme>
</file>

<file path=ppt/theme/theme4.xml><?xml version="1.0" encoding="utf-8"?>
<a:theme xmlns:a="http://schemas.openxmlformats.org/drawingml/2006/main" name="2 Contents Intro page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40000"/>
            <a:lumOff val="60000"/>
          </a:schemeClr>
        </a:solidFill>
        <a:ln>
          <a:solidFill>
            <a:schemeClr val="accent1">
              <a:lumMod val="40000"/>
              <a:lumOff val="60000"/>
            </a:schemeClr>
          </a:solidFill>
        </a:ln>
      </a:spPr>
      <a:bodyPr rtlCol="0" anchor="ctr"/>
      <a:lstStyle>
        <a:defPPr algn="ctr">
          <a:defRPr sz="1067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E60DFDE2-F547-EF40-95C4-5E97C0A59871}" vid="{0B91DE77-EB8D-EE46-B5E4-D8E6EEDEBE70}"/>
    </a:ext>
  </a:extLst>
</a:theme>
</file>

<file path=ppt/theme/theme5.xml><?xml version="1.0" encoding="utf-8"?>
<a:theme xmlns:a="http://schemas.openxmlformats.org/drawingml/2006/main" name="9 Content - Quote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60DFDE2-F547-EF40-95C4-5E97C0A59871}" vid="{EE3D4D6F-B32A-024F-A981-B15C56DB906A}"/>
    </a:ext>
  </a:extLst>
</a:theme>
</file>

<file path=ppt/theme/theme6.xml><?xml version="1.0" encoding="utf-8"?>
<a:theme xmlns:a="http://schemas.openxmlformats.org/drawingml/2006/main" name="13 Content - Thank you page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60DFDE2-F547-EF40-95C4-5E97C0A59871}" vid="{31894EA5-6793-474A-9F3E-3EB290329F48}"/>
    </a:ext>
  </a:extLst>
</a:theme>
</file>

<file path=ppt/theme/theme7.xml><?xml version="1.0" encoding="utf-8"?>
<a:theme xmlns:a="http://schemas.openxmlformats.org/drawingml/2006/main" name="1_3 White Background - Content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60DFDE2-F547-EF40-95C4-5E97C0A59871}" vid="{31B94BB3-581F-E940-B5BD-C79C43B7583F}"/>
    </a:ext>
  </a:extLst>
</a:theme>
</file>

<file path=ppt/theme/theme8.xml><?xml version="1.0" encoding="utf-8"?>
<a:theme xmlns:a="http://schemas.openxmlformats.org/drawingml/2006/main" name="1_2 Contents Intro page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60DFDE2-F547-EF40-95C4-5E97C0A59871}" vid="{0B91DE77-EB8D-EE46-B5E4-D8E6EEDEBE70}"/>
    </a:ext>
  </a:extLst>
</a:theme>
</file>

<file path=ppt/theme/theme9.xml><?xml version="1.0" encoding="utf-8"?>
<a:theme xmlns:a="http://schemas.openxmlformats.org/drawingml/2006/main" name="1_6 Content - Bespoke layouts">
  <a:themeElements>
    <a:clrScheme name="Paysafe">
      <a:dk1>
        <a:srgbClr val="282828"/>
      </a:dk1>
      <a:lt1>
        <a:srgbClr val="FFFFFF"/>
      </a:lt1>
      <a:dk2>
        <a:srgbClr val="2C2341"/>
      </a:dk2>
      <a:lt2>
        <a:srgbClr val="E7E6E6"/>
      </a:lt2>
      <a:accent1>
        <a:srgbClr val="7887E6"/>
      </a:accent1>
      <a:accent2>
        <a:srgbClr val="FF5073"/>
      </a:accent2>
      <a:accent3>
        <a:srgbClr val="00C8D2"/>
      </a:accent3>
      <a:accent4>
        <a:srgbClr val="D7C3B9"/>
      </a:accent4>
      <a:accent5>
        <a:srgbClr val="282828"/>
      </a:accent5>
      <a:accent6>
        <a:srgbClr val="C8C8C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60DFDE2-F547-EF40-95C4-5E97C0A59871}" vid="{4DC2BFD2-81A7-2A40-833F-3181AC4A15F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B04C851D0E674B8F622FDC447FEADC" ma:contentTypeVersion="6" ma:contentTypeDescription="Create a new document." ma:contentTypeScope="" ma:versionID="29854e8d1d6e467eab89d0312f2f183f">
  <xsd:schema xmlns:xsd="http://www.w3.org/2001/XMLSchema" xmlns:xs="http://www.w3.org/2001/XMLSchema" xmlns:p="http://schemas.microsoft.com/office/2006/metadata/properties" xmlns:ns3="8f070bf6-260e-494e-a7b9-40359ee13326" targetNamespace="http://schemas.microsoft.com/office/2006/metadata/properties" ma:root="true" ma:fieldsID="774c649ef103993071d6478e8be4a24e" ns3:_="">
    <xsd:import namespace="8f070bf6-260e-494e-a7b9-40359ee1332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070bf6-260e-494e-a7b9-40359ee133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1EB88D8-E052-40EC-8C9E-A28B0937596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938CB3B-A29F-439D-B46D-6886669453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070bf6-260e-494e-a7b9-40359ee133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A0AB738-4EB8-40E6-A7EF-9723729D37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 Front Covers</Template>
  <TotalTime>406</TotalTime>
  <Words>139</Words>
  <Application>Microsoft Office PowerPoint</Application>
  <PresentationFormat>Widescreen</PresentationFormat>
  <Paragraphs>40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2" baseType="lpstr">
      <vt:lpstr>.AppleSystemUIFont</vt:lpstr>
      <vt:lpstr>Arial</vt:lpstr>
      <vt:lpstr>Berlingske Sans Demibold</vt:lpstr>
      <vt:lpstr>Berlingske Sans Extrabold</vt:lpstr>
      <vt:lpstr>Calibri</vt:lpstr>
      <vt:lpstr>Courier New</vt:lpstr>
      <vt:lpstr>Droid Sans Mono</vt:lpstr>
      <vt:lpstr>Roboto</vt:lpstr>
      <vt:lpstr>Source Sans Pro</vt:lpstr>
      <vt:lpstr>Source Sans Pro SemiBold</vt:lpstr>
      <vt:lpstr>3_3 White Background - Content</vt:lpstr>
      <vt:lpstr>2_2 Contents Intro pages</vt:lpstr>
      <vt:lpstr>2_6 Content - Bespoke layouts</vt:lpstr>
      <vt:lpstr>2 Contents Intro pages</vt:lpstr>
      <vt:lpstr>9 Content - Quotes</vt:lpstr>
      <vt:lpstr>13 Content - Thank you pages</vt:lpstr>
      <vt:lpstr>1_3 White Background - Content</vt:lpstr>
      <vt:lpstr>1_2 Contents Intro pages</vt:lpstr>
      <vt:lpstr>1_6 Content - Bespoke layouts</vt:lpstr>
      <vt:lpstr>3_2 Contents Intro pages</vt:lpstr>
      <vt:lpstr>4_2 Contents Intro pages</vt:lpstr>
      <vt:lpstr>7 Content - Coloured curved pages</vt:lpstr>
      <vt:lpstr>think-cell Slide</vt:lpstr>
      <vt:lpstr>OpenFeign</vt:lpstr>
      <vt:lpstr>PowerPoint Presentation</vt:lpstr>
      <vt:lpstr>What is Feign</vt:lpstr>
      <vt:lpstr>Why Feign</vt:lpstr>
      <vt:lpstr>Demo</vt:lpstr>
      <vt:lpstr>Demo</vt:lpstr>
      <vt:lpstr>Demo</vt:lpstr>
      <vt:lpstr>How we use it in Resttes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 Transformation Programme 180626</dc:title>
  <dc:creator>Clive Wilmer</dc:creator>
  <cp:lastModifiedBy>Toni Ilieva</cp:lastModifiedBy>
  <cp:revision>60</cp:revision>
  <cp:lastPrinted>2019-05-08T12:12:29Z</cp:lastPrinted>
  <dcterms:created xsi:type="dcterms:W3CDTF">2018-05-17T15:17:04Z</dcterms:created>
  <dcterms:modified xsi:type="dcterms:W3CDTF">2020-06-16T12:2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B04C851D0E674B8F622FDC447FEADC</vt:lpwstr>
  </property>
</Properties>
</file>